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8.xml" ContentType="application/vnd.openxmlformats-officedocument.theme+xml"/>
  <Override PartName="/ppt/tags/tag8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9.xml" ContentType="application/vnd.openxmlformats-officedocument.theme+xml"/>
  <Override PartName="/ppt/tags/tag9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11.xml" ContentType="application/vnd.openxmlformats-officedocument.theme+xml"/>
  <Override PartName="/ppt/ink/ink1.xml" ContentType="application/inkml+xml"/>
  <Override PartName="/ppt/ink/ink2.xml" ContentType="application/inkml+xml"/>
  <Override PartName="/ppt/ink/ink3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81" r:id="rId1"/>
    <p:sldMasterId id="2147483891" r:id="rId2"/>
    <p:sldMasterId id="2147483901" r:id="rId3"/>
    <p:sldMasterId id="2147483908" r:id="rId4"/>
    <p:sldMasterId id="2147483915" r:id="rId5"/>
    <p:sldMasterId id="2147483929" r:id="rId6"/>
    <p:sldMasterId id="2147483939" r:id="rId7"/>
    <p:sldMasterId id="2147483949" r:id="rId8"/>
    <p:sldMasterId id="2147483956" r:id="rId9"/>
    <p:sldMasterId id="2147483963" r:id="rId10"/>
    <p:sldMasterId id="2147483971" r:id="rId11"/>
  </p:sldMasterIdLst>
  <p:sldIdLst>
    <p:sldId id="256" r:id="rId12"/>
    <p:sldId id="263" r:id="rId13"/>
    <p:sldId id="257" r:id="rId14"/>
    <p:sldId id="259" r:id="rId15"/>
    <p:sldId id="262" r:id="rId16"/>
    <p:sldId id="260" r:id="rId17"/>
    <p:sldId id="261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8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63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10" Type="http://schemas.openxmlformats.org/officeDocument/2006/relationships/slideMaster" Target="slideMasters/slideMaster10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tableStyles" Target="tableStyles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1-10T22:54:16.604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0 25 24575,'218'-12'0,"9"-1"0,1347 14-1365,-1553-1-546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1-10T22:54:18.500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0 0 24575,'2022'0'-1365,"-1988"0"-546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1-10T22:54:21.376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 77 24575,'100'1'0,"-24"1"0,-1-3 0,142-21 0,-129 7 0,154-4 0,96 20 0,-133 2 0,-155-3 0,-1-2 0,76-12 0,-83 9-216,1 1 0,68 2 0,-89 2-501,6 1-6109</inkml:trace>
</inkml:ink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CD70841-5ACD-594B-97DB-9B32B7BD309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33109562-61E2-C442-B61F-C20C81DE23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5918"/>
            <a:ext cx="720000" cy="720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E1F3246-4A29-FC47-A4D1-E98CAE336406}"/>
              </a:ext>
            </a:extLst>
          </p:cNvPr>
          <p:cNvSpPr txBox="1">
            <a:spLocks/>
          </p:cNvSpPr>
          <p:nvPr/>
        </p:nvSpPr>
        <p:spPr>
          <a:xfrm>
            <a:off x="408320" y="5809178"/>
            <a:ext cx="11970151" cy="772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AND PROPRIETARY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70A638-D031-44D8-8D0C-2987A663B6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9" y="3078723"/>
            <a:ext cx="11591924" cy="58370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oject Nam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17B940C-848A-448F-98A8-8FEAB59FA4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6" y="3662426"/>
            <a:ext cx="11591925" cy="8912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MY"/>
              <a:t>Subtitle</a:t>
            </a:r>
            <a:endParaRPr lang="en-GB"/>
          </a:p>
          <a:p>
            <a:pPr lvl="0"/>
            <a:r>
              <a:rPr lang="en-GB"/>
              <a:t>Team</a:t>
            </a:r>
          </a:p>
          <a:p>
            <a:pPr lvl="0"/>
            <a:r>
              <a:rPr lang="en-GB"/>
              <a:t>Date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8750696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Digital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310969-343A-AD4B-9D7B-C06E623804D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8FE49EE-8B4E-9C45-8BAF-1AD46055589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14">
            <a:extLst>
              <a:ext uri="{FF2B5EF4-FFF2-40B4-BE49-F238E27FC236}">
                <a16:creationId xmlns:a16="http://schemas.microsoft.com/office/drawing/2014/main" id="{DA635C24-A14C-9249-84D9-F52BE7C3F2C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0038" y="3662426"/>
            <a:ext cx="11591923" cy="365125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C55821B2-8871-CC49-8635-E5780038B7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6995" y="5308291"/>
            <a:ext cx="720564" cy="7200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8A4B0DC8-B5ED-8646-BDDC-0CD92B124D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320" y="5304821"/>
            <a:ext cx="720000" cy="720000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40A748C5-729C-4909-85CE-5054D8E84C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9" y="3078723"/>
            <a:ext cx="11591924" cy="58370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Section Nam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88669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Digital Content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02CA069-43D9-9946-8021-311932FF4B26}"/>
              </a:ext>
            </a:extLst>
          </p:cNvPr>
          <p:cNvSpPr/>
          <p:nvPr/>
        </p:nvSpPr>
        <p:spPr>
          <a:xfrm>
            <a:off x="8124440" y="0"/>
            <a:ext cx="4064399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BC3E37-75CB-1E48-B220-BE35CE4E8A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DB62871F-E9FC-A249-A3A7-F807B63C408D}" type="slidenum">
              <a:rPr lang="en-US" smtClean="0"/>
              <a:pPr/>
              <a:t>‹#›</a:t>
            </a:fld>
            <a:endParaRPr lang="en-US" sz="1000"/>
          </a:p>
        </p:txBody>
      </p:sp>
      <p:sp>
        <p:nvSpPr>
          <p:cNvPr id="9" name="Content Placeholder 15">
            <a:extLst>
              <a:ext uri="{FF2B5EF4-FFF2-40B4-BE49-F238E27FC236}">
                <a16:creationId xmlns:a16="http://schemas.microsoft.com/office/drawing/2014/main" id="{4D90CC7D-37A3-6545-8F52-D997D41D837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 anchor="t"/>
          <a:lstStyle>
            <a:lvl1pPr marL="0" indent="12700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12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Topic | Subtopic</a:t>
            </a:r>
          </a:p>
        </p:txBody>
      </p:sp>
      <p:sp>
        <p:nvSpPr>
          <p:cNvPr id="11" name="Content Placeholder 17">
            <a:extLst>
              <a:ext uri="{FF2B5EF4-FFF2-40B4-BE49-F238E27FC236}">
                <a16:creationId xmlns:a16="http://schemas.microsoft.com/office/drawing/2014/main" id="{FC8B1901-A797-774D-9E05-32781353805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8" y="735014"/>
            <a:ext cx="7824404" cy="317500"/>
          </a:xfrm>
          <a:prstGeom prst="rect">
            <a:avLst/>
          </a:prstGeom>
        </p:spPr>
        <p:txBody>
          <a:bodyPr anchor="t"/>
          <a:lstStyle>
            <a:lvl1pPr marL="0" indent="12700">
              <a:lnSpc>
                <a:spcPct val="100000"/>
              </a:lnSpc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19B22F73-C541-0043-BF6F-926C0D661D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64735" y="6324730"/>
            <a:ext cx="7690048" cy="267852"/>
          </a:xfrm>
          <a:prstGeom prst="rect">
            <a:avLst/>
          </a:prstGeom>
        </p:spPr>
        <p:txBody>
          <a:bodyPr anchor="b"/>
          <a:lstStyle>
            <a:lvl1pPr marL="12700" indent="-12700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MY"/>
              <a:t>Source: LSC Digital analysi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54FA2C4-61A9-024E-BFBA-C8FE98E3C1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7" y="370390"/>
            <a:ext cx="7824404" cy="363392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Titles to be one line, never more than 2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0735069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Digital Content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29CC70A-4983-A745-A85A-89B42374772D}"/>
              </a:ext>
            </a:extLst>
          </p:cNvPr>
          <p:cNvSpPr/>
          <p:nvPr/>
        </p:nvSpPr>
        <p:spPr>
          <a:xfrm>
            <a:off x="6095259" y="-1"/>
            <a:ext cx="6094800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F24B5E-4177-5A49-B4CD-54C6099704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DB62871F-E9FC-A249-A3A7-F807B63C408D}" type="slidenum">
              <a:rPr lang="en-US" smtClean="0"/>
              <a:pPr/>
              <a:t>‹#›</a:t>
            </a:fld>
            <a:endParaRPr lang="en-US" sz="1000"/>
          </a:p>
        </p:txBody>
      </p:sp>
      <p:sp>
        <p:nvSpPr>
          <p:cNvPr id="9" name="Content Placeholder 15">
            <a:extLst>
              <a:ext uri="{FF2B5EF4-FFF2-40B4-BE49-F238E27FC236}">
                <a16:creationId xmlns:a16="http://schemas.microsoft.com/office/drawing/2014/main" id="{8901ABB3-027A-7249-9575-51B72501CCC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 anchor="t"/>
          <a:lstStyle>
            <a:lvl1pPr marL="0" indent="12700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11" name="Content Placeholder 17">
            <a:extLst>
              <a:ext uri="{FF2B5EF4-FFF2-40B4-BE49-F238E27FC236}">
                <a16:creationId xmlns:a16="http://schemas.microsoft.com/office/drawing/2014/main" id="{21F80CE6-DE3C-8D41-8E00-34D4BBF2C54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7" y="735014"/>
            <a:ext cx="5795223" cy="317500"/>
          </a:xfrm>
          <a:prstGeom prst="rect">
            <a:avLst/>
          </a:prstGeom>
        </p:spPr>
        <p:txBody>
          <a:bodyPr anchor="t"/>
          <a:lstStyle>
            <a:lvl1pPr marL="0" indent="12700">
              <a:lnSpc>
                <a:spcPct val="100000"/>
              </a:lnSpc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697144FA-DFB5-AA4A-8F12-12F8613717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64735" y="6324730"/>
            <a:ext cx="7690048" cy="267852"/>
          </a:xfrm>
          <a:prstGeom prst="rect">
            <a:avLst/>
          </a:prstGeom>
        </p:spPr>
        <p:txBody>
          <a:bodyPr anchor="b"/>
          <a:lstStyle>
            <a:lvl1pPr marL="12700" indent="-12700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MY"/>
              <a:t>Source: LSC Digital analysi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2A0C871-F13D-4A4F-B2D9-13E99CDB1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6" y="370390"/>
            <a:ext cx="5795223" cy="363392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Titles to be one line, never more than 2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8955183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SC Digital Back p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051907B-B7F3-4865-9CEC-ECB4EB310837}"/>
              </a:ext>
            </a:extLst>
          </p:cNvPr>
          <p:cNvSpPr/>
          <p:nvPr/>
        </p:nvSpPr>
        <p:spPr>
          <a:xfrm>
            <a:off x="-860285" y="5937835"/>
            <a:ext cx="548604" cy="39354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E6643E8-9FB7-4030-B6E4-AD3B1BE564F4}"/>
              </a:ext>
            </a:extLst>
          </p:cNvPr>
          <p:cNvSpPr/>
          <p:nvPr/>
        </p:nvSpPr>
        <p:spPr>
          <a:xfrm>
            <a:off x="-858562" y="4177225"/>
            <a:ext cx="548604" cy="3935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D16E31E-6D85-4E30-9395-EF772A5178A1}"/>
              </a:ext>
            </a:extLst>
          </p:cNvPr>
          <p:cNvSpPr/>
          <p:nvPr/>
        </p:nvSpPr>
        <p:spPr>
          <a:xfrm>
            <a:off x="-860285" y="4764095"/>
            <a:ext cx="548604" cy="3935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16172FD-BBAD-4063-B482-06529336C53D}"/>
              </a:ext>
            </a:extLst>
          </p:cNvPr>
          <p:cNvSpPr/>
          <p:nvPr/>
        </p:nvSpPr>
        <p:spPr>
          <a:xfrm>
            <a:off x="-860285" y="5350965"/>
            <a:ext cx="548604" cy="3935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A106209-246C-4EB2-A28A-6A76479DE898}"/>
              </a:ext>
            </a:extLst>
          </p:cNvPr>
          <p:cNvSpPr/>
          <p:nvPr/>
        </p:nvSpPr>
        <p:spPr>
          <a:xfrm>
            <a:off x="-860285" y="6524705"/>
            <a:ext cx="548604" cy="393540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 descr="Logo, company name&#10;&#10;Description automatically generated">
            <a:extLst>
              <a:ext uri="{FF2B5EF4-FFF2-40B4-BE49-F238E27FC236}">
                <a16:creationId xmlns:a16="http://schemas.microsoft.com/office/drawing/2014/main" id="{E0CB13EE-4BFD-7A4D-8BC0-37519DBF08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6995" y="5308291"/>
            <a:ext cx="720564" cy="720000"/>
          </a:xfrm>
          <a:prstGeom prst="rect">
            <a:avLst/>
          </a:prstGeom>
        </p:spPr>
      </p:pic>
      <p:pic>
        <p:nvPicPr>
          <p:cNvPr id="16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42F855-CD01-8E44-B5C1-02EFFB23D9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320" y="5304821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0881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CD70841-5ACD-594B-97DB-9B32B7BD309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33109562-61E2-C442-B61F-C20C81DE23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5918"/>
            <a:ext cx="720000" cy="720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E1F3246-4A29-FC47-A4D1-E98CAE336406}"/>
              </a:ext>
            </a:extLst>
          </p:cNvPr>
          <p:cNvSpPr txBox="1">
            <a:spLocks/>
          </p:cNvSpPr>
          <p:nvPr/>
        </p:nvSpPr>
        <p:spPr>
          <a:xfrm>
            <a:off x="408320" y="5809178"/>
            <a:ext cx="11970151" cy="772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AND PROPRIETARY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70A638-D031-44D8-8D0C-2987A663B6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9" y="3078723"/>
            <a:ext cx="11591924" cy="58370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oject Nam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17B940C-848A-448F-98A8-8FEAB59FA4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6" y="3662426"/>
            <a:ext cx="11591925" cy="8912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MY"/>
              <a:t>Subtitle</a:t>
            </a:r>
            <a:endParaRPr lang="en-GB"/>
          </a:p>
          <a:p>
            <a:pPr lvl="0"/>
            <a:r>
              <a:rPr lang="en-GB"/>
              <a:t>Team</a:t>
            </a:r>
          </a:p>
          <a:p>
            <a:pPr lvl="0"/>
            <a:r>
              <a:rPr lang="en-GB"/>
              <a:t>Date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9401415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42C2CBB-AEF7-CB4F-9131-F7D5E24BA88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72745" y="6328659"/>
            <a:ext cx="8987173" cy="267852"/>
          </a:xfrm>
          <a:prstGeom prst="rect">
            <a:avLst/>
          </a:prstGeom>
        </p:spPr>
        <p:txBody>
          <a:bodyPr anchor="b"/>
          <a:lstStyle>
            <a:lvl1pPr marL="9525" indent="-9525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ource: LSC analysis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82FEE90-DE14-3948-AB5E-C8D46B3A6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259917" y="6328659"/>
            <a:ext cx="1632045" cy="267852"/>
          </a:xfrm>
        </p:spPr>
        <p:txBody>
          <a:bodyPr/>
          <a:lstStyle/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2E9860A2-5F09-9C41-8514-75AC2FC5E28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11591924" cy="180975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3DA3786F-2F35-C047-88FC-BFB6852B09F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0037" y="369888"/>
            <a:ext cx="11591925" cy="365125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Titles to be one line, never more than 2</a:t>
            </a:r>
          </a:p>
        </p:txBody>
      </p:sp>
      <p:sp>
        <p:nvSpPr>
          <p:cNvPr id="19" name="Content Placeholder 17">
            <a:extLst>
              <a:ext uri="{FF2B5EF4-FFF2-40B4-BE49-F238E27FC236}">
                <a16:creationId xmlns:a16="http://schemas.microsoft.com/office/drawing/2014/main" id="{B7EC81A2-7878-BC43-B17E-67F3349B177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7" y="735014"/>
            <a:ext cx="11591925" cy="317500"/>
          </a:xfrm>
          <a:prstGeom prst="rect">
            <a:avLst/>
          </a:prstGeom>
        </p:spPr>
        <p:txBody>
          <a:bodyPr anchor="t"/>
          <a:lstStyle>
            <a:lvl1pPr marL="9525" indent="-9525"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</p:spTree>
    <p:extLst>
      <p:ext uri="{BB962C8B-B14F-4D97-AF65-F5344CB8AC3E}">
        <p14:creationId xmlns:p14="http://schemas.microsoft.com/office/powerpoint/2010/main" val="9233661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SC Strategy Content" preserve="1">
  <p:cSld name="1_LSC Strategy Content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8"/>
          <p:cNvSpPr txBox="1">
            <a:spLocks noGrp="1"/>
          </p:cNvSpPr>
          <p:nvPr>
            <p:ph type="sldNum" idx="12"/>
          </p:nvPr>
        </p:nvSpPr>
        <p:spPr>
          <a:xfrm>
            <a:off x="10259917" y="6328659"/>
            <a:ext cx="1632045" cy="267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8" name="Google Shape;28;p38"/>
          <p:cNvSpPr txBox="1">
            <a:spLocks noGrp="1"/>
          </p:cNvSpPr>
          <p:nvPr>
            <p:ph type="body" idx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Google Shape;29;p38"/>
          <p:cNvSpPr txBox="1">
            <a:spLocks noGrp="1"/>
          </p:cNvSpPr>
          <p:nvPr>
            <p:ph type="title"/>
          </p:nvPr>
        </p:nvSpPr>
        <p:spPr>
          <a:xfrm>
            <a:off x="300035" y="369888"/>
            <a:ext cx="1159192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Times New Roman"/>
              <a:buNone/>
              <a:defRPr sz="2500" b="1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0" name="Google Shape;30;p38"/>
          <p:cNvSpPr txBox="1">
            <a:spLocks noGrp="1"/>
          </p:cNvSpPr>
          <p:nvPr>
            <p:ph type="body" idx="2"/>
          </p:nvPr>
        </p:nvSpPr>
        <p:spPr>
          <a:xfrm>
            <a:off x="300034" y="732144"/>
            <a:ext cx="11591926" cy="317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048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Google Shape;31;p38"/>
          <p:cNvSpPr txBox="1">
            <a:spLocks noGrp="1"/>
          </p:cNvSpPr>
          <p:nvPr>
            <p:ph type="body" idx="3"/>
          </p:nvPr>
        </p:nvSpPr>
        <p:spPr>
          <a:xfrm>
            <a:off x="1273173" y="6329363"/>
            <a:ext cx="8986743" cy="2671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21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21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21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21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81018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D06DAA-E62E-F04F-B417-BE137AFC83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6F8645E-AB0B-B94F-8ADB-1C147FE443D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5F7D932A-8F34-4A42-8496-EC71FEA806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5918"/>
            <a:ext cx="720000" cy="720000"/>
          </a:xfrm>
          <a:prstGeom prst="rect">
            <a:avLst/>
          </a:prstGeom>
        </p:spPr>
      </p:pic>
      <p:sp>
        <p:nvSpPr>
          <p:cNvPr id="11" name="Content Placeholder 14">
            <a:extLst>
              <a:ext uri="{FF2B5EF4-FFF2-40B4-BE49-F238E27FC236}">
                <a16:creationId xmlns:a16="http://schemas.microsoft.com/office/drawing/2014/main" id="{7DB22074-FB73-43CF-9AE2-A7BFFD5302C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0038" y="3662426"/>
            <a:ext cx="11591923" cy="365125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AD349EE-4849-41AA-B56A-0C8E04EF68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9" y="3078723"/>
            <a:ext cx="11591924" cy="58370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Section Nam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84013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Back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2CAF7EE-95ED-B844-8592-68524745A7A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D051582C-5279-BD46-AC11-5061D6B14A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5918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3076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ustai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5D9042-E464-EF40-B68E-8E905F1ECBF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51EE53-A9E1-CA43-AD23-38605B0C9F7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icture containing text, outdoor&#10;&#10;Description automatically generated">
            <a:extLst>
              <a:ext uri="{FF2B5EF4-FFF2-40B4-BE49-F238E27FC236}">
                <a16:creationId xmlns:a16="http://schemas.microsoft.com/office/drawing/2014/main" id="{69242E5C-ED2A-F640-8771-B3E88B12AF7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001E45"/>
              </a:clrFrom>
              <a:clrTo>
                <a:srgbClr val="001E45">
                  <a:alpha val="0"/>
                </a:srgbClr>
              </a:clrTo>
            </a:clrChange>
          </a:blip>
          <a:srcRect l="493" t="1038" r="493" b="1"/>
          <a:stretch/>
        </p:blipFill>
        <p:spPr>
          <a:xfrm>
            <a:off x="1230008" y="5312448"/>
            <a:ext cx="727551" cy="720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E8545C4B-7EF5-1A4F-B690-6BB55952B25A}"/>
              </a:ext>
            </a:extLst>
          </p:cNvPr>
          <p:cNvSpPr txBox="1">
            <a:spLocks/>
          </p:cNvSpPr>
          <p:nvPr/>
        </p:nvSpPr>
        <p:spPr>
          <a:xfrm>
            <a:off x="408320" y="5809178"/>
            <a:ext cx="11483641" cy="772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AND PROPRIETARY</a:t>
            </a:r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474222B6-BD16-4C4B-9E2D-2CFDACB896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320" y="5312448"/>
            <a:ext cx="720000" cy="720000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54C419EF-3FF2-49DB-A764-6AD6C6A628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9" y="3078723"/>
            <a:ext cx="11591924" cy="58370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oject Name</a:t>
            </a:r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8443391-98F8-49C6-9468-673AA39C234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6" y="3662426"/>
            <a:ext cx="11591925" cy="8912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MY"/>
              <a:t>Subtitle</a:t>
            </a:r>
            <a:endParaRPr lang="en-GB"/>
          </a:p>
          <a:p>
            <a:pPr lvl="0"/>
            <a:r>
              <a:rPr lang="en-GB"/>
              <a:t>Team</a:t>
            </a:r>
          </a:p>
          <a:p>
            <a:pPr lvl="0"/>
            <a:r>
              <a:rPr lang="en-GB"/>
              <a:t>Date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8443916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D06DAA-E62E-F04F-B417-BE137AFC83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6F8645E-AB0B-B94F-8ADB-1C147FE443D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5F7D932A-8F34-4A42-8496-EC71FEA806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5918"/>
            <a:ext cx="720000" cy="720000"/>
          </a:xfrm>
          <a:prstGeom prst="rect">
            <a:avLst/>
          </a:prstGeom>
        </p:spPr>
      </p:pic>
      <p:sp>
        <p:nvSpPr>
          <p:cNvPr id="11" name="Content Placeholder 14">
            <a:extLst>
              <a:ext uri="{FF2B5EF4-FFF2-40B4-BE49-F238E27FC236}">
                <a16:creationId xmlns:a16="http://schemas.microsoft.com/office/drawing/2014/main" id="{7DB22074-FB73-43CF-9AE2-A7BFFD5302C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0038" y="3662426"/>
            <a:ext cx="11591923" cy="365125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AD349EE-4849-41AA-B56A-0C8E04EF68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9" y="3078723"/>
            <a:ext cx="11591924" cy="58370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Section Nam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91164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ustain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93E58A4-7D3F-7843-AEF6-E3F26516FA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E5D965B-AE36-7D45-8412-4D73887DC9A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icture containing text, outdoor&#10;&#10;Description automatically generated">
            <a:extLst>
              <a:ext uri="{FF2B5EF4-FFF2-40B4-BE49-F238E27FC236}">
                <a16:creationId xmlns:a16="http://schemas.microsoft.com/office/drawing/2014/main" id="{1B0CB9A9-B6B1-154D-90C1-3D2EB71981C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001E45"/>
              </a:clrFrom>
              <a:clrTo>
                <a:srgbClr val="001E45">
                  <a:alpha val="0"/>
                </a:srgbClr>
              </a:clrTo>
            </a:clrChange>
          </a:blip>
          <a:srcRect l="493" t="1038" r="493" b="1"/>
          <a:stretch/>
        </p:blipFill>
        <p:spPr>
          <a:xfrm>
            <a:off x="1230008" y="5312448"/>
            <a:ext cx="727551" cy="720000"/>
          </a:xfrm>
          <a:prstGeom prst="rect">
            <a:avLst/>
          </a:prstGeom>
        </p:spPr>
      </p:pic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AB88DE74-7EF7-3948-8588-02C1ECAA36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320" y="5312448"/>
            <a:ext cx="720000" cy="720000"/>
          </a:xfrm>
          <a:prstGeom prst="rect">
            <a:avLst/>
          </a:prstGeom>
        </p:spPr>
      </p:pic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0129F2E8-4397-42AE-B2E7-1B0B809595F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0038" y="3662426"/>
            <a:ext cx="11591923" cy="365125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68BB1035-04E2-401E-89CE-36ED9D660B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9" y="3078723"/>
            <a:ext cx="11591924" cy="58370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Section Nam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63819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ustai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CDB969-64DB-EF4D-9CD9-BBE6C92B97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15">
            <a:extLst>
              <a:ext uri="{FF2B5EF4-FFF2-40B4-BE49-F238E27FC236}">
                <a16:creationId xmlns:a16="http://schemas.microsoft.com/office/drawing/2014/main" id="{7FBFD3DF-473A-244A-ACF6-3800CE9F761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 anchor="t"/>
          <a:lstStyle>
            <a:lvl1pPr marL="0" indent="12700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5" name="Content Placeholder 17">
            <a:extLst>
              <a:ext uri="{FF2B5EF4-FFF2-40B4-BE49-F238E27FC236}">
                <a16:creationId xmlns:a16="http://schemas.microsoft.com/office/drawing/2014/main" id="{A042689D-AEBB-C34A-BC08-D1CBF89A86A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7" y="735014"/>
            <a:ext cx="11591925" cy="317500"/>
          </a:xfrm>
          <a:prstGeom prst="rect">
            <a:avLst/>
          </a:prstGeom>
        </p:spPr>
        <p:txBody>
          <a:bodyPr anchor="t"/>
          <a:lstStyle>
            <a:lvl1pPr marL="0" indent="12700">
              <a:lnSpc>
                <a:spcPct val="100000"/>
              </a:lnSpc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40C9B46-4670-6A42-8C5E-9C16C77158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64735" y="6324730"/>
            <a:ext cx="7690048" cy="267852"/>
          </a:xfrm>
          <a:prstGeom prst="rect">
            <a:avLst/>
          </a:prstGeom>
        </p:spPr>
        <p:txBody>
          <a:bodyPr anchor="b"/>
          <a:lstStyle>
            <a:lvl1pPr marL="12700" indent="-12700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MY"/>
              <a:t>Source: LSC Sustain analysi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25E3819-E32E-9A41-8DF7-34FBE0CD49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6" y="370390"/>
            <a:ext cx="11591925" cy="363392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Titles to be one line, never more than 2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7404036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ustain Content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02CA069-43D9-9946-8021-311932FF4B26}"/>
              </a:ext>
            </a:extLst>
          </p:cNvPr>
          <p:cNvSpPr/>
          <p:nvPr/>
        </p:nvSpPr>
        <p:spPr>
          <a:xfrm>
            <a:off x="8124440" y="0"/>
            <a:ext cx="4064399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BC3E37-75CB-1E48-B220-BE35CE4E8A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DB62871F-E9FC-A249-A3A7-F807B63C408D}" type="slidenum">
              <a:rPr lang="en-US" smtClean="0"/>
              <a:pPr/>
              <a:t>‹#›</a:t>
            </a:fld>
            <a:endParaRPr lang="en-US" sz="1000"/>
          </a:p>
        </p:txBody>
      </p:sp>
      <p:sp>
        <p:nvSpPr>
          <p:cNvPr id="9" name="Content Placeholder 15">
            <a:extLst>
              <a:ext uri="{FF2B5EF4-FFF2-40B4-BE49-F238E27FC236}">
                <a16:creationId xmlns:a16="http://schemas.microsoft.com/office/drawing/2014/main" id="{0D2EB152-C09B-8C4F-AAC9-36FE213907B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 anchor="t"/>
          <a:lstStyle>
            <a:lvl1pPr marL="0" indent="12700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11" name="Content Placeholder 17">
            <a:extLst>
              <a:ext uri="{FF2B5EF4-FFF2-40B4-BE49-F238E27FC236}">
                <a16:creationId xmlns:a16="http://schemas.microsoft.com/office/drawing/2014/main" id="{2E5FE7DC-39C1-6840-9445-8A17B0EB5AB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8" y="735014"/>
            <a:ext cx="7824404" cy="317500"/>
          </a:xfrm>
          <a:prstGeom prst="rect">
            <a:avLst/>
          </a:prstGeom>
        </p:spPr>
        <p:txBody>
          <a:bodyPr anchor="t"/>
          <a:lstStyle>
            <a:lvl1pPr marL="0" indent="12700">
              <a:lnSpc>
                <a:spcPct val="100000"/>
              </a:lnSpc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B606686-A9A8-BB4D-B45F-94E9A71C7F5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64735" y="6324730"/>
            <a:ext cx="7690048" cy="267852"/>
          </a:xfrm>
          <a:prstGeom prst="rect">
            <a:avLst/>
          </a:prstGeom>
        </p:spPr>
        <p:txBody>
          <a:bodyPr anchor="b"/>
          <a:lstStyle>
            <a:lvl1pPr marL="12700" indent="-12700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MY"/>
              <a:t>Source: LSC Sustain analysi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523B653-6866-8044-8B46-A4E4DFCEA2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7" y="370390"/>
            <a:ext cx="7824404" cy="363392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Titles to be one line, never more than 2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9659009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ustain Content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29CC70A-4983-A745-A85A-89B42374772D}"/>
              </a:ext>
            </a:extLst>
          </p:cNvPr>
          <p:cNvSpPr/>
          <p:nvPr/>
        </p:nvSpPr>
        <p:spPr>
          <a:xfrm>
            <a:off x="6095259" y="-1"/>
            <a:ext cx="6094800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F24B5E-4177-5A49-B4CD-54C6099704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DB62871F-E9FC-A249-A3A7-F807B63C408D}" type="slidenum">
              <a:rPr lang="en-US" smtClean="0"/>
              <a:pPr/>
              <a:t>‹#›</a:t>
            </a:fld>
            <a:endParaRPr lang="en-US" sz="1000"/>
          </a:p>
        </p:txBody>
      </p:sp>
      <p:sp>
        <p:nvSpPr>
          <p:cNvPr id="9" name="Content Placeholder 15">
            <a:extLst>
              <a:ext uri="{FF2B5EF4-FFF2-40B4-BE49-F238E27FC236}">
                <a16:creationId xmlns:a16="http://schemas.microsoft.com/office/drawing/2014/main" id="{22FFDD4B-64BF-664A-85EA-C95CAFA06A10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 anchor="t"/>
          <a:lstStyle>
            <a:lvl1pPr marL="0" indent="12700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11" name="Content Placeholder 17">
            <a:extLst>
              <a:ext uri="{FF2B5EF4-FFF2-40B4-BE49-F238E27FC236}">
                <a16:creationId xmlns:a16="http://schemas.microsoft.com/office/drawing/2014/main" id="{DDCA93F0-2F5D-F945-A7F7-EC513A69C67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7" y="735014"/>
            <a:ext cx="5795223" cy="317500"/>
          </a:xfrm>
          <a:prstGeom prst="rect">
            <a:avLst/>
          </a:prstGeom>
        </p:spPr>
        <p:txBody>
          <a:bodyPr anchor="t"/>
          <a:lstStyle>
            <a:lvl1pPr marL="0" indent="12700">
              <a:lnSpc>
                <a:spcPct val="100000"/>
              </a:lnSpc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B8E72EB-2D67-1B44-9B53-5120210477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64735" y="6324730"/>
            <a:ext cx="7690048" cy="267852"/>
          </a:xfrm>
          <a:prstGeom prst="rect">
            <a:avLst/>
          </a:prstGeom>
        </p:spPr>
        <p:txBody>
          <a:bodyPr anchor="b"/>
          <a:lstStyle>
            <a:lvl1pPr marL="12700" indent="-12700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MY"/>
              <a:t>Source: LSC Sustain analysi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B2776EF-DAE5-7A46-B948-EBAAB58F1D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6" y="370390"/>
            <a:ext cx="5795223" cy="363392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Titles to be one line, never more than 2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7777891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SC Sustain Back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447034-D336-4C23-AE32-9A4A3EE1B4EE}"/>
              </a:ext>
            </a:extLst>
          </p:cNvPr>
          <p:cNvSpPr/>
          <p:nvPr/>
        </p:nvSpPr>
        <p:spPr>
          <a:xfrm>
            <a:off x="-860285" y="5937835"/>
            <a:ext cx="548604" cy="39354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2795BE-28F4-4EE7-B16F-1FC36A00827A}"/>
              </a:ext>
            </a:extLst>
          </p:cNvPr>
          <p:cNvSpPr/>
          <p:nvPr/>
        </p:nvSpPr>
        <p:spPr>
          <a:xfrm>
            <a:off x="-858562" y="4177225"/>
            <a:ext cx="548604" cy="3935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B6DEE36-6C96-405E-A1EF-6A4F05CEFD3E}"/>
              </a:ext>
            </a:extLst>
          </p:cNvPr>
          <p:cNvSpPr/>
          <p:nvPr/>
        </p:nvSpPr>
        <p:spPr>
          <a:xfrm>
            <a:off x="-860285" y="4764095"/>
            <a:ext cx="548604" cy="3935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7294DDC-DB63-4E93-A138-270DD26E27BA}"/>
              </a:ext>
            </a:extLst>
          </p:cNvPr>
          <p:cNvSpPr/>
          <p:nvPr/>
        </p:nvSpPr>
        <p:spPr>
          <a:xfrm>
            <a:off x="-860285" y="5350965"/>
            <a:ext cx="548604" cy="39354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D0D206-9942-42DE-BA24-E5B8AA0ADD92}"/>
              </a:ext>
            </a:extLst>
          </p:cNvPr>
          <p:cNvSpPr/>
          <p:nvPr/>
        </p:nvSpPr>
        <p:spPr>
          <a:xfrm>
            <a:off x="-860285" y="6524705"/>
            <a:ext cx="548604" cy="39354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 descr="A picture containing text, outdoor&#10;&#10;Description automatically generated">
            <a:extLst>
              <a:ext uri="{FF2B5EF4-FFF2-40B4-BE49-F238E27FC236}">
                <a16:creationId xmlns:a16="http://schemas.microsoft.com/office/drawing/2014/main" id="{0AA0387C-2863-0C4E-B014-5C84EEAFCFC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001E45"/>
              </a:clrFrom>
              <a:clrTo>
                <a:srgbClr val="001E45">
                  <a:alpha val="0"/>
                </a:srgbClr>
              </a:clrTo>
            </a:clrChange>
          </a:blip>
          <a:srcRect l="493" t="1038" r="493" b="1"/>
          <a:stretch/>
        </p:blipFill>
        <p:spPr>
          <a:xfrm>
            <a:off x="1230008" y="5312448"/>
            <a:ext cx="727551" cy="720000"/>
          </a:xfrm>
          <a:prstGeom prst="rect">
            <a:avLst/>
          </a:prstGeom>
        </p:spPr>
      </p:pic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29E31283-C5AB-4D49-B689-420959C446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320" y="5312448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1292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7C8D6A01-45B1-4D83-8534-333183F2C6A1}" type="datetimeFigureOut">
              <a:rPr lang="en-GB" smtClean="0"/>
              <a:t>02/01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66381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D6A01-45B1-4D83-8534-333183F2C6A1}" type="datetimeFigureOut">
              <a:rPr lang="en-GB" smtClean="0"/>
              <a:t>02/01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66557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SC BKG Cover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BE02A781-FC5D-4103-BDE5-D0AF081B6C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6796"/>
            <a:ext cx="1675688" cy="720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E1F3246-4A29-FC47-A4D1-E98CAE336406}"/>
              </a:ext>
            </a:extLst>
          </p:cNvPr>
          <p:cNvSpPr txBox="1">
            <a:spLocks/>
          </p:cNvSpPr>
          <p:nvPr/>
        </p:nvSpPr>
        <p:spPr>
          <a:xfrm>
            <a:off x="408320" y="5809178"/>
            <a:ext cx="11483641" cy="772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AND PROPRIETAR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16A572F-D7CD-4CDF-AD01-C102E3C618B6}"/>
              </a:ext>
            </a:extLst>
          </p:cNvPr>
          <p:cNvSpPr/>
          <p:nvPr/>
        </p:nvSpPr>
        <p:spPr>
          <a:xfrm>
            <a:off x="-860285" y="5937835"/>
            <a:ext cx="548604" cy="39354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13B504-D6EE-4D4A-8866-37E63923A933}"/>
              </a:ext>
            </a:extLst>
          </p:cNvPr>
          <p:cNvSpPr/>
          <p:nvPr/>
        </p:nvSpPr>
        <p:spPr>
          <a:xfrm>
            <a:off x="-858562" y="4177225"/>
            <a:ext cx="548604" cy="3935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DE7E047-7814-409E-B77A-F645A918BA7F}"/>
              </a:ext>
            </a:extLst>
          </p:cNvPr>
          <p:cNvSpPr/>
          <p:nvPr/>
        </p:nvSpPr>
        <p:spPr>
          <a:xfrm>
            <a:off x="-860285" y="4764095"/>
            <a:ext cx="548604" cy="3935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3438AA5-B497-4CEC-B87F-227F66049438}"/>
              </a:ext>
            </a:extLst>
          </p:cNvPr>
          <p:cNvSpPr/>
          <p:nvPr/>
        </p:nvSpPr>
        <p:spPr>
          <a:xfrm>
            <a:off x="-860285" y="5350965"/>
            <a:ext cx="548604" cy="39354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B539524-7D18-45B2-90EE-B40013FD5D55}"/>
              </a:ext>
            </a:extLst>
          </p:cNvPr>
          <p:cNvSpPr/>
          <p:nvPr/>
        </p:nvSpPr>
        <p:spPr>
          <a:xfrm>
            <a:off x="-860285" y="6524705"/>
            <a:ext cx="548604" cy="39354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B6C370DE-8B4A-45E5-A411-E5D979CE6A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9" y="3078723"/>
            <a:ext cx="11591924" cy="58370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oject Name</a:t>
            </a:r>
            <a:endParaRPr lang="en-GB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0DCCE008-14FB-4590-9979-34E47E3AE9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6" y="3662426"/>
            <a:ext cx="11591925" cy="8912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MY"/>
              <a:t>Subtitle</a:t>
            </a:r>
            <a:endParaRPr lang="en-GB"/>
          </a:p>
          <a:p>
            <a:pPr lvl="0"/>
            <a:r>
              <a:rPr lang="en-GB"/>
              <a:t>Team</a:t>
            </a:r>
          </a:p>
          <a:p>
            <a:pPr lvl="0"/>
            <a:r>
              <a:rPr lang="en-GB"/>
              <a:t>Date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0867573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BKG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D06DAA-E62E-F04F-B417-BE137AFC83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6F8645E-AB0B-B94F-8ADB-1C147FE443D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7D9AC26C-BADC-0D4E-A63F-DC50E3D5BC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6796"/>
            <a:ext cx="1675688" cy="720000"/>
          </a:xfrm>
          <a:prstGeom prst="rect">
            <a:avLst/>
          </a:prstGeom>
        </p:spPr>
      </p:pic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3919A582-E1D9-4522-AEBB-7FBBDA05495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0038" y="3662426"/>
            <a:ext cx="11591923" cy="365125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B6F041B8-6465-4329-8DF2-4236AFED9C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9" y="3078723"/>
            <a:ext cx="11591924" cy="58370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Section Nam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15229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BKG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82FEE90-DE14-3948-AB5E-C8D46B3A6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259917" y="6328659"/>
            <a:ext cx="1632045" cy="267852"/>
          </a:xfrm>
        </p:spPr>
        <p:txBody>
          <a:bodyPr/>
          <a:lstStyle/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ontent Placeholder 12">
            <a:extLst>
              <a:ext uri="{FF2B5EF4-FFF2-40B4-BE49-F238E27FC236}">
                <a16:creationId xmlns:a16="http://schemas.microsoft.com/office/drawing/2014/main" id="{B9214DF6-20E1-A048-B2D2-4BB35DD49ED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369574" y="6328659"/>
            <a:ext cx="7890344" cy="267852"/>
          </a:xfrm>
          <a:prstGeom prst="rect">
            <a:avLst/>
          </a:prstGeom>
        </p:spPr>
        <p:txBody>
          <a:bodyPr anchor="b"/>
          <a:lstStyle>
            <a:lvl1pPr marL="9525" indent="-9525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ource: LSC BKG analysis</a:t>
            </a:r>
          </a:p>
        </p:txBody>
      </p:sp>
      <p:sp>
        <p:nvSpPr>
          <p:cNvPr id="9" name="Content Placeholder 15">
            <a:extLst>
              <a:ext uri="{FF2B5EF4-FFF2-40B4-BE49-F238E27FC236}">
                <a16:creationId xmlns:a16="http://schemas.microsoft.com/office/drawing/2014/main" id="{CCC0CEBA-5127-904B-B20A-818B20FB55D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11" name="Content Placeholder 17">
            <a:extLst>
              <a:ext uri="{FF2B5EF4-FFF2-40B4-BE49-F238E27FC236}">
                <a16:creationId xmlns:a16="http://schemas.microsoft.com/office/drawing/2014/main" id="{B59EC706-E6D2-D247-B437-C3940D438FF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0037" y="369888"/>
            <a:ext cx="11591925" cy="365125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Titles to be one line, never more than 2</a:t>
            </a:r>
          </a:p>
        </p:txBody>
      </p:sp>
      <p:sp>
        <p:nvSpPr>
          <p:cNvPr id="12" name="Content Placeholder 17">
            <a:extLst>
              <a:ext uri="{FF2B5EF4-FFF2-40B4-BE49-F238E27FC236}">
                <a16:creationId xmlns:a16="http://schemas.microsoft.com/office/drawing/2014/main" id="{2F20458E-BABE-2442-8301-384AE170E62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7" y="735014"/>
            <a:ext cx="11591925" cy="317500"/>
          </a:xfrm>
          <a:prstGeom prst="rect">
            <a:avLst/>
          </a:prstGeom>
        </p:spPr>
        <p:txBody>
          <a:bodyPr anchor="t"/>
          <a:lstStyle>
            <a:lvl1pPr marL="9525" indent="-9525"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</p:spTree>
    <p:extLst>
      <p:ext uri="{BB962C8B-B14F-4D97-AF65-F5344CB8AC3E}">
        <p14:creationId xmlns:p14="http://schemas.microsoft.com/office/powerpoint/2010/main" val="34846406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42C2CBB-AEF7-CB4F-9131-F7D5E24BA88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72745" y="6328659"/>
            <a:ext cx="8987173" cy="267852"/>
          </a:xfrm>
          <a:prstGeom prst="rect">
            <a:avLst/>
          </a:prstGeom>
        </p:spPr>
        <p:txBody>
          <a:bodyPr anchor="b"/>
          <a:lstStyle>
            <a:lvl1pPr marL="9525" indent="-9525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ource: LSC analysis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82FEE90-DE14-3948-AB5E-C8D46B3A6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259917" y="6328659"/>
            <a:ext cx="1632045" cy="267852"/>
          </a:xfrm>
        </p:spPr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2E9860A2-5F09-9C41-8514-75AC2FC5E28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11591924" cy="180975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3DA3786F-2F35-C047-88FC-BFB6852B09F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0037" y="369888"/>
            <a:ext cx="11591925" cy="365125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Titles to be one line, never more than 2</a:t>
            </a:r>
          </a:p>
        </p:txBody>
      </p:sp>
      <p:sp>
        <p:nvSpPr>
          <p:cNvPr id="19" name="Content Placeholder 17">
            <a:extLst>
              <a:ext uri="{FF2B5EF4-FFF2-40B4-BE49-F238E27FC236}">
                <a16:creationId xmlns:a16="http://schemas.microsoft.com/office/drawing/2014/main" id="{B7EC81A2-7878-BC43-B17E-67F3349B177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7" y="735014"/>
            <a:ext cx="11591925" cy="317500"/>
          </a:xfrm>
          <a:prstGeom prst="rect">
            <a:avLst/>
          </a:prstGeom>
        </p:spPr>
        <p:txBody>
          <a:bodyPr anchor="t"/>
          <a:lstStyle>
            <a:lvl1pPr marL="9525" indent="-9525"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</p:spTree>
    <p:extLst>
      <p:ext uri="{BB962C8B-B14F-4D97-AF65-F5344CB8AC3E}">
        <p14:creationId xmlns:p14="http://schemas.microsoft.com/office/powerpoint/2010/main" val="30452141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BKG Content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02CA069-43D9-9946-8021-311932FF4B26}"/>
              </a:ext>
            </a:extLst>
          </p:cNvPr>
          <p:cNvSpPr/>
          <p:nvPr/>
        </p:nvSpPr>
        <p:spPr>
          <a:xfrm>
            <a:off x="8124440" y="0"/>
            <a:ext cx="4064399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BC3E37-75CB-1E48-B220-BE35CE4E8A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DB62871F-E9FC-A249-A3A7-F807B63C408D}" type="slidenum">
              <a:rPr lang="en-US" smtClean="0"/>
              <a:pPr/>
              <a:t>‹#›</a:t>
            </a:fld>
            <a:endParaRPr lang="en-US" sz="1000"/>
          </a:p>
        </p:txBody>
      </p:sp>
      <p:sp>
        <p:nvSpPr>
          <p:cNvPr id="11" name="Content Placeholder 12">
            <a:extLst>
              <a:ext uri="{FF2B5EF4-FFF2-40B4-BE49-F238E27FC236}">
                <a16:creationId xmlns:a16="http://schemas.microsoft.com/office/drawing/2014/main" id="{F3752B82-B344-1847-97B9-030883520C6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369574" y="6328659"/>
            <a:ext cx="5754866" cy="267852"/>
          </a:xfrm>
          <a:prstGeom prst="rect">
            <a:avLst/>
          </a:prstGeom>
        </p:spPr>
        <p:txBody>
          <a:bodyPr anchor="b"/>
          <a:lstStyle>
            <a:lvl1pPr marL="9525" indent="-9525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ource: LSC BKG analysis</a:t>
            </a:r>
          </a:p>
        </p:txBody>
      </p:sp>
      <p:sp>
        <p:nvSpPr>
          <p:cNvPr id="12" name="Content Placeholder 15">
            <a:extLst>
              <a:ext uri="{FF2B5EF4-FFF2-40B4-BE49-F238E27FC236}">
                <a16:creationId xmlns:a16="http://schemas.microsoft.com/office/drawing/2014/main" id="{4CD0C9FD-2109-B541-A860-A990DB93D11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13" name="Content Placeholder 17">
            <a:extLst>
              <a:ext uri="{FF2B5EF4-FFF2-40B4-BE49-F238E27FC236}">
                <a16:creationId xmlns:a16="http://schemas.microsoft.com/office/drawing/2014/main" id="{FC085482-99F1-3647-9E55-242CCBBCE61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0037" y="369888"/>
            <a:ext cx="7824403" cy="365125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Titles to be one line, never more than 2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694C7A40-9847-2142-A876-FA7C2FD218C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7" y="735014"/>
            <a:ext cx="7824403" cy="317500"/>
          </a:xfrm>
          <a:prstGeom prst="rect">
            <a:avLst/>
          </a:prstGeom>
        </p:spPr>
        <p:txBody>
          <a:bodyPr anchor="t"/>
          <a:lstStyle>
            <a:lvl1pPr marL="9525" indent="-9525"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</p:spTree>
    <p:extLst>
      <p:ext uri="{BB962C8B-B14F-4D97-AF65-F5344CB8AC3E}">
        <p14:creationId xmlns:p14="http://schemas.microsoft.com/office/powerpoint/2010/main" val="1034749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BKG Content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29CC70A-4983-A745-A85A-89B42374772D}"/>
              </a:ext>
            </a:extLst>
          </p:cNvPr>
          <p:cNvSpPr/>
          <p:nvPr/>
        </p:nvSpPr>
        <p:spPr>
          <a:xfrm>
            <a:off x="6095259" y="-1"/>
            <a:ext cx="6094800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F24B5E-4177-5A49-B4CD-54C6099704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DB62871F-E9FC-A249-A3A7-F807B63C408D}" type="slidenum">
              <a:rPr lang="en-US" smtClean="0"/>
              <a:pPr/>
              <a:t>‹#›</a:t>
            </a:fld>
            <a:endParaRPr lang="en-US" sz="1000"/>
          </a:p>
        </p:txBody>
      </p:sp>
      <p:sp>
        <p:nvSpPr>
          <p:cNvPr id="11" name="Content Placeholder 12">
            <a:extLst>
              <a:ext uri="{FF2B5EF4-FFF2-40B4-BE49-F238E27FC236}">
                <a16:creationId xmlns:a16="http://schemas.microsoft.com/office/drawing/2014/main" id="{1092A50B-6379-664B-ABE1-A57FE88AABF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369574" y="6328659"/>
            <a:ext cx="3725685" cy="267852"/>
          </a:xfrm>
          <a:prstGeom prst="rect">
            <a:avLst/>
          </a:prstGeom>
        </p:spPr>
        <p:txBody>
          <a:bodyPr anchor="b"/>
          <a:lstStyle>
            <a:lvl1pPr marL="9525" indent="-9525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ource: LSC BKG analysis</a:t>
            </a:r>
          </a:p>
        </p:txBody>
      </p:sp>
      <p:sp>
        <p:nvSpPr>
          <p:cNvPr id="12" name="Content Placeholder 15">
            <a:extLst>
              <a:ext uri="{FF2B5EF4-FFF2-40B4-BE49-F238E27FC236}">
                <a16:creationId xmlns:a16="http://schemas.microsoft.com/office/drawing/2014/main" id="{7AF2D1A2-58FC-4A4B-9B67-EA95517BFE9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13" name="Content Placeholder 17">
            <a:extLst>
              <a:ext uri="{FF2B5EF4-FFF2-40B4-BE49-F238E27FC236}">
                <a16:creationId xmlns:a16="http://schemas.microsoft.com/office/drawing/2014/main" id="{97C0AB2F-009C-AF4E-BABC-21F437D9EC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0038" y="369888"/>
            <a:ext cx="5795222" cy="365125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Titles to be one line, never more than 2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C8FF38A9-F7B9-CA42-83AA-CA98190917D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8" y="735014"/>
            <a:ext cx="5795222" cy="317500"/>
          </a:xfrm>
          <a:prstGeom prst="rect">
            <a:avLst/>
          </a:prstGeom>
        </p:spPr>
        <p:txBody>
          <a:bodyPr anchor="t"/>
          <a:lstStyle>
            <a:lvl1pPr marL="9525" indent="-9525"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</p:spTree>
    <p:extLst>
      <p:ext uri="{BB962C8B-B14F-4D97-AF65-F5344CB8AC3E}">
        <p14:creationId xmlns:p14="http://schemas.microsoft.com/office/powerpoint/2010/main" val="209845000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SC BKG Back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58E603-8758-B94A-AAF0-147E1A0686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DB62871F-E9FC-A249-A3A7-F807B63C408D}" type="slidenum">
              <a:rPr lang="en-US" smtClean="0"/>
              <a:pPr/>
              <a:t>‹#›</a:t>
            </a:fld>
            <a:endParaRPr lang="en-US" sz="10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FE15917-A40D-48F2-B6E6-1899986F29EC}"/>
              </a:ext>
            </a:extLst>
          </p:cNvPr>
          <p:cNvSpPr/>
          <p:nvPr/>
        </p:nvSpPr>
        <p:spPr>
          <a:xfrm>
            <a:off x="-860285" y="5937835"/>
            <a:ext cx="548604" cy="39354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321112-99D1-4F62-9926-1780122B2028}"/>
              </a:ext>
            </a:extLst>
          </p:cNvPr>
          <p:cNvSpPr/>
          <p:nvPr/>
        </p:nvSpPr>
        <p:spPr>
          <a:xfrm>
            <a:off x="-858562" y="4177225"/>
            <a:ext cx="548604" cy="3935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FFF2D54-8B96-4446-B81D-F5A0ABB95A82}"/>
              </a:ext>
            </a:extLst>
          </p:cNvPr>
          <p:cNvSpPr/>
          <p:nvPr/>
        </p:nvSpPr>
        <p:spPr>
          <a:xfrm>
            <a:off x="-860285" y="4764095"/>
            <a:ext cx="548604" cy="3935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1EDCBF-C75A-4411-AF92-2AC126D5E2B5}"/>
              </a:ext>
            </a:extLst>
          </p:cNvPr>
          <p:cNvSpPr/>
          <p:nvPr/>
        </p:nvSpPr>
        <p:spPr>
          <a:xfrm>
            <a:off x="-860285" y="5350965"/>
            <a:ext cx="548604" cy="39354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1067316-3D9D-4E6B-9F92-0E1CF2F6E0F5}"/>
              </a:ext>
            </a:extLst>
          </p:cNvPr>
          <p:cNvSpPr/>
          <p:nvPr/>
        </p:nvSpPr>
        <p:spPr>
          <a:xfrm>
            <a:off x="-860285" y="6524705"/>
            <a:ext cx="548604" cy="39354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B635054D-7D0C-264F-8935-DC93F8DF82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6796"/>
            <a:ext cx="1675688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9619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7C8D6A01-45B1-4D83-8534-333183F2C6A1}" type="datetimeFigureOut">
              <a:rPr lang="en-GB" smtClean="0"/>
              <a:t>02/01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4555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D6A01-45B1-4D83-8534-333183F2C6A1}" type="datetimeFigureOut">
              <a:rPr lang="en-GB" smtClean="0"/>
              <a:t>02/01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05237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CD70841-5ACD-594B-97DB-9B32B7BD309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33109562-61E2-C442-B61F-C20C81DE23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5918"/>
            <a:ext cx="720000" cy="720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E1F3246-4A29-FC47-A4D1-E98CAE336406}"/>
              </a:ext>
            </a:extLst>
          </p:cNvPr>
          <p:cNvSpPr txBox="1">
            <a:spLocks/>
          </p:cNvSpPr>
          <p:nvPr/>
        </p:nvSpPr>
        <p:spPr>
          <a:xfrm>
            <a:off x="408320" y="5809178"/>
            <a:ext cx="11970151" cy="772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AND PROPRIETARY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70A638-D031-44D8-8D0C-2987A663B6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9" y="3078723"/>
            <a:ext cx="11591924" cy="58370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oject Nam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17B940C-848A-448F-98A8-8FEAB59FA4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6" y="3662426"/>
            <a:ext cx="11591925" cy="8912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MY"/>
              <a:t>Subtitle</a:t>
            </a:r>
            <a:endParaRPr lang="en-GB"/>
          </a:p>
          <a:p>
            <a:pPr lvl="0"/>
            <a:r>
              <a:rPr lang="en-GB"/>
              <a:t>Team</a:t>
            </a:r>
          </a:p>
          <a:p>
            <a:pPr lvl="0"/>
            <a:r>
              <a:rPr lang="en-GB"/>
              <a:t>Date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6925707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D06DAA-E62E-F04F-B417-BE137AFC83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6F8645E-AB0B-B94F-8ADB-1C147FE443D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5F7D932A-8F34-4A42-8496-EC71FEA806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5918"/>
            <a:ext cx="720000" cy="720000"/>
          </a:xfrm>
          <a:prstGeom prst="rect">
            <a:avLst/>
          </a:prstGeom>
        </p:spPr>
      </p:pic>
      <p:sp>
        <p:nvSpPr>
          <p:cNvPr id="11" name="Content Placeholder 14">
            <a:extLst>
              <a:ext uri="{FF2B5EF4-FFF2-40B4-BE49-F238E27FC236}">
                <a16:creationId xmlns:a16="http://schemas.microsoft.com/office/drawing/2014/main" id="{7DB22074-FB73-43CF-9AE2-A7BFFD5302C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0038" y="3662426"/>
            <a:ext cx="11591923" cy="365125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AD349EE-4849-41AA-B56A-0C8E04EF68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9" y="3078723"/>
            <a:ext cx="11591924" cy="58370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Section Nam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03906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42C2CBB-AEF7-CB4F-9131-F7D5E24BA88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72745" y="6328659"/>
            <a:ext cx="8987173" cy="267852"/>
          </a:xfrm>
          <a:prstGeom prst="rect">
            <a:avLst/>
          </a:prstGeom>
        </p:spPr>
        <p:txBody>
          <a:bodyPr anchor="b"/>
          <a:lstStyle>
            <a:lvl1pPr marL="9525" indent="-9525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ource: LSC analysis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82FEE90-DE14-3948-AB5E-C8D46B3A6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259917" y="6328659"/>
            <a:ext cx="1632045" cy="267852"/>
          </a:xfrm>
        </p:spPr>
        <p:txBody>
          <a:bodyPr/>
          <a:lstStyle/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2E9860A2-5F09-9C41-8514-75AC2FC5E28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3DA3786F-2F35-C047-88FC-BFB6852B09F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0037" y="369888"/>
            <a:ext cx="11591925" cy="365125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Titles to be one line, never more than 2</a:t>
            </a:r>
          </a:p>
        </p:txBody>
      </p:sp>
      <p:sp>
        <p:nvSpPr>
          <p:cNvPr id="19" name="Content Placeholder 17">
            <a:extLst>
              <a:ext uri="{FF2B5EF4-FFF2-40B4-BE49-F238E27FC236}">
                <a16:creationId xmlns:a16="http://schemas.microsoft.com/office/drawing/2014/main" id="{B7EC81A2-7878-BC43-B17E-67F3349B177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7" y="735014"/>
            <a:ext cx="11591925" cy="317500"/>
          </a:xfrm>
          <a:prstGeom prst="rect">
            <a:avLst/>
          </a:prstGeom>
        </p:spPr>
        <p:txBody>
          <a:bodyPr anchor="t"/>
          <a:lstStyle>
            <a:lvl1pPr marL="9525" indent="-9525"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</p:spTree>
    <p:extLst>
      <p:ext uri="{BB962C8B-B14F-4D97-AF65-F5344CB8AC3E}">
        <p14:creationId xmlns:p14="http://schemas.microsoft.com/office/powerpoint/2010/main" val="29396766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Content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02CA069-43D9-9946-8021-311932FF4B26}"/>
              </a:ext>
            </a:extLst>
          </p:cNvPr>
          <p:cNvSpPr/>
          <p:nvPr/>
        </p:nvSpPr>
        <p:spPr>
          <a:xfrm>
            <a:off x="8124440" y="0"/>
            <a:ext cx="4064399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BC3E37-75CB-1E48-B220-BE35CE4E8A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DB62871F-E9FC-A249-A3A7-F807B63C408D}" type="slidenum">
              <a:rPr lang="en-US" smtClean="0"/>
              <a:pPr/>
              <a:t>‹#›</a:t>
            </a:fld>
            <a:endParaRPr lang="en-US" sz="1000"/>
          </a:p>
        </p:txBody>
      </p:sp>
      <p:sp>
        <p:nvSpPr>
          <p:cNvPr id="6" name="Content Placeholder 15">
            <a:extLst>
              <a:ext uri="{FF2B5EF4-FFF2-40B4-BE49-F238E27FC236}">
                <a16:creationId xmlns:a16="http://schemas.microsoft.com/office/drawing/2014/main" id="{24F0D4AF-7E74-9E49-8898-F1E4D54C318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/>
          <a:lstStyle>
            <a:lvl1pPr marL="12700" indent="-12700"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7" name="Content Placeholder 17">
            <a:extLst>
              <a:ext uri="{FF2B5EF4-FFF2-40B4-BE49-F238E27FC236}">
                <a16:creationId xmlns:a16="http://schemas.microsoft.com/office/drawing/2014/main" id="{3DB15CAC-B8E1-F64A-BE09-755208894FC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0037" y="369888"/>
            <a:ext cx="7824403" cy="365125"/>
          </a:xfrm>
          <a:prstGeom prst="rect">
            <a:avLst/>
          </a:prstGeom>
        </p:spPr>
        <p:txBody>
          <a:bodyPr/>
          <a:lstStyle>
            <a:lvl1pPr marL="12700" indent="-12700">
              <a:spcBef>
                <a:spcPts val="0"/>
              </a:spcBef>
              <a:buNone/>
              <a:tabLst/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Titles to be one line, never more than 2</a:t>
            </a:r>
          </a:p>
        </p:txBody>
      </p:sp>
      <p:sp>
        <p:nvSpPr>
          <p:cNvPr id="8" name="Content Placeholder 17">
            <a:extLst>
              <a:ext uri="{FF2B5EF4-FFF2-40B4-BE49-F238E27FC236}">
                <a16:creationId xmlns:a16="http://schemas.microsoft.com/office/drawing/2014/main" id="{AAEC9897-1D19-5547-AF73-24AAB916293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7" y="735014"/>
            <a:ext cx="7824403" cy="317500"/>
          </a:xfrm>
          <a:prstGeom prst="rect">
            <a:avLst/>
          </a:prstGeom>
        </p:spPr>
        <p:txBody>
          <a:bodyPr anchor="t"/>
          <a:lstStyle>
            <a:lvl1pPr marL="12700" indent="-12700"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55A04608-DDFF-2541-9FA5-1F8FC16B7B5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72745" y="6328659"/>
            <a:ext cx="6851695" cy="267852"/>
          </a:xfrm>
          <a:prstGeom prst="rect">
            <a:avLst/>
          </a:prstGeom>
        </p:spPr>
        <p:txBody>
          <a:bodyPr anchor="b"/>
          <a:lstStyle>
            <a:lvl1pPr marL="9525" indent="-9525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ource: LSC analysis</a:t>
            </a:r>
          </a:p>
        </p:txBody>
      </p:sp>
    </p:spTree>
    <p:extLst>
      <p:ext uri="{BB962C8B-B14F-4D97-AF65-F5344CB8AC3E}">
        <p14:creationId xmlns:p14="http://schemas.microsoft.com/office/powerpoint/2010/main" val="14942509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Content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29CC70A-4983-A745-A85A-89B42374772D}"/>
              </a:ext>
            </a:extLst>
          </p:cNvPr>
          <p:cNvSpPr/>
          <p:nvPr/>
        </p:nvSpPr>
        <p:spPr>
          <a:xfrm>
            <a:off x="6095259" y="-1"/>
            <a:ext cx="6094800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F24B5E-4177-5A49-B4CD-54C6099704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DB62871F-E9FC-A249-A3A7-F807B63C408D}" type="slidenum">
              <a:rPr lang="en-US" smtClean="0"/>
              <a:pPr/>
              <a:t>‹#›</a:t>
            </a:fld>
            <a:endParaRPr lang="en-US" sz="1000"/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BCBA6188-BC27-194D-A2EE-24FDAF9A56B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72746" y="6328659"/>
            <a:ext cx="4822512" cy="267852"/>
          </a:xfrm>
          <a:prstGeom prst="rect">
            <a:avLst/>
          </a:prstGeom>
        </p:spPr>
        <p:txBody>
          <a:bodyPr anchor="b"/>
          <a:lstStyle>
            <a:lvl1pPr marL="9525" indent="-9525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ource: LSC analysis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44770496-0501-FC48-9547-7A59634DAF1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11" name="Content Placeholder 17">
            <a:extLst>
              <a:ext uri="{FF2B5EF4-FFF2-40B4-BE49-F238E27FC236}">
                <a16:creationId xmlns:a16="http://schemas.microsoft.com/office/drawing/2014/main" id="{AE3EBB54-773C-E846-8D56-45247B11663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0038" y="369888"/>
            <a:ext cx="5795222" cy="365125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Titles to be one line, never more than 2</a:t>
            </a:r>
          </a:p>
        </p:txBody>
      </p:sp>
      <p:sp>
        <p:nvSpPr>
          <p:cNvPr id="12" name="Content Placeholder 17">
            <a:extLst>
              <a:ext uri="{FF2B5EF4-FFF2-40B4-BE49-F238E27FC236}">
                <a16:creationId xmlns:a16="http://schemas.microsoft.com/office/drawing/2014/main" id="{1C4CD2D4-99F4-5C4D-B539-0E411237B20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8" y="735014"/>
            <a:ext cx="5795222" cy="317500"/>
          </a:xfrm>
          <a:prstGeom prst="rect">
            <a:avLst/>
          </a:prstGeom>
        </p:spPr>
        <p:txBody>
          <a:bodyPr anchor="t"/>
          <a:lstStyle>
            <a:lvl1pPr marL="9525" indent="-9525"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</p:spTree>
    <p:extLst>
      <p:ext uri="{BB962C8B-B14F-4D97-AF65-F5344CB8AC3E}">
        <p14:creationId xmlns:p14="http://schemas.microsoft.com/office/powerpoint/2010/main" val="12365531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Content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02CA069-43D9-9946-8021-311932FF4B26}"/>
              </a:ext>
            </a:extLst>
          </p:cNvPr>
          <p:cNvSpPr/>
          <p:nvPr/>
        </p:nvSpPr>
        <p:spPr>
          <a:xfrm>
            <a:off x="8124440" y="0"/>
            <a:ext cx="4064399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BC3E37-75CB-1E48-B220-BE35CE4E8A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  <p:sp>
        <p:nvSpPr>
          <p:cNvPr id="6" name="Content Placeholder 15">
            <a:extLst>
              <a:ext uri="{FF2B5EF4-FFF2-40B4-BE49-F238E27FC236}">
                <a16:creationId xmlns:a16="http://schemas.microsoft.com/office/drawing/2014/main" id="{24F0D4AF-7E74-9E49-8898-F1E4D54C318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7824402" cy="180975"/>
          </a:xfrm>
          <a:prstGeom prst="rect">
            <a:avLst/>
          </a:prstGeom>
        </p:spPr>
        <p:txBody>
          <a:bodyPr/>
          <a:lstStyle>
            <a:lvl1pPr marL="12700" indent="-12700"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7" name="Content Placeholder 17">
            <a:extLst>
              <a:ext uri="{FF2B5EF4-FFF2-40B4-BE49-F238E27FC236}">
                <a16:creationId xmlns:a16="http://schemas.microsoft.com/office/drawing/2014/main" id="{3DB15CAC-B8E1-F64A-BE09-755208894FC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0037" y="369888"/>
            <a:ext cx="7824403" cy="365125"/>
          </a:xfrm>
          <a:prstGeom prst="rect">
            <a:avLst/>
          </a:prstGeom>
        </p:spPr>
        <p:txBody>
          <a:bodyPr/>
          <a:lstStyle>
            <a:lvl1pPr marL="12700" indent="-12700">
              <a:spcBef>
                <a:spcPts val="0"/>
              </a:spcBef>
              <a:buNone/>
              <a:tabLst/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Titles to be one line, never more than 2</a:t>
            </a:r>
          </a:p>
        </p:txBody>
      </p:sp>
      <p:sp>
        <p:nvSpPr>
          <p:cNvPr id="8" name="Content Placeholder 17">
            <a:extLst>
              <a:ext uri="{FF2B5EF4-FFF2-40B4-BE49-F238E27FC236}">
                <a16:creationId xmlns:a16="http://schemas.microsoft.com/office/drawing/2014/main" id="{AAEC9897-1D19-5547-AF73-24AAB916293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7" y="735014"/>
            <a:ext cx="7824403" cy="317500"/>
          </a:xfrm>
          <a:prstGeom prst="rect">
            <a:avLst/>
          </a:prstGeom>
        </p:spPr>
        <p:txBody>
          <a:bodyPr anchor="t"/>
          <a:lstStyle>
            <a:lvl1pPr marL="12700" indent="-12700"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55A04608-DDFF-2541-9FA5-1F8FC16B7B5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72745" y="6328659"/>
            <a:ext cx="6851695" cy="267852"/>
          </a:xfrm>
          <a:prstGeom prst="rect">
            <a:avLst/>
          </a:prstGeom>
        </p:spPr>
        <p:txBody>
          <a:bodyPr anchor="b"/>
          <a:lstStyle>
            <a:lvl1pPr marL="9525" indent="-9525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ource: LSC analysis</a:t>
            </a:r>
          </a:p>
        </p:txBody>
      </p:sp>
    </p:spTree>
    <p:extLst>
      <p:ext uri="{BB962C8B-B14F-4D97-AF65-F5344CB8AC3E}">
        <p14:creationId xmlns:p14="http://schemas.microsoft.com/office/powerpoint/2010/main" val="6222657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Back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2CAF7EE-95ED-B844-8592-68524745A7A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D051582C-5279-BD46-AC11-5061D6B14A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5918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3601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SC Strategy Content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29CC70A-4983-A745-A85A-89B42374772D}"/>
              </a:ext>
            </a:extLst>
          </p:cNvPr>
          <p:cNvSpPr/>
          <p:nvPr/>
        </p:nvSpPr>
        <p:spPr>
          <a:xfrm>
            <a:off x="6095259" y="-1"/>
            <a:ext cx="6094800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F24B5E-4177-5A49-B4CD-54C6099704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DB62871F-E9FC-A249-A3A7-F807B63C408D}" type="slidenum">
              <a:rPr lang="en-US" smtClean="0"/>
              <a:pPr/>
              <a:t>‹#›</a:t>
            </a:fld>
            <a:endParaRPr lang="en-US" sz="100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44770496-0501-FC48-9547-7A59634DAF1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A5A4A19-CEC1-4999-ADE1-B8C5542CD6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6" y="369888"/>
            <a:ext cx="5795224" cy="365125"/>
          </a:xfrm>
          <a:prstGeom prst="rect">
            <a:avLst/>
          </a:prstGeom>
        </p:spPr>
        <p:txBody>
          <a:bodyPr/>
          <a:lstStyle>
            <a:lvl1pPr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Titles to be one line, never more than 2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9832F16-0793-4F50-9ADB-0251F1CC9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0034" y="732144"/>
            <a:ext cx="5795224" cy="3174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MY"/>
              <a:t>Subtitles could be used to add context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2478599-7F73-4D53-8778-90271D4C7F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73174" y="6329363"/>
            <a:ext cx="4822086" cy="26714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Source: </a:t>
            </a:r>
            <a:r>
              <a:rPr lang="en-US" err="1"/>
              <a:t>LSC</a:t>
            </a:r>
            <a:r>
              <a:rPr lang="en-US"/>
              <a:t> analysi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767540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7C8D6A01-45B1-4D83-8534-333183F2C6A1}" type="datetimeFigureOut">
              <a:rPr lang="en-GB" smtClean="0"/>
              <a:t>02/01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56710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D6A01-45B1-4D83-8534-333183F2C6A1}" type="datetimeFigureOut">
              <a:rPr lang="en-GB" smtClean="0"/>
              <a:t>02/01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509102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CD70841-5ACD-594B-97DB-9B32B7BD309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33109562-61E2-C442-B61F-C20C81DE23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5918"/>
            <a:ext cx="720000" cy="720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E1F3246-4A29-FC47-A4D1-E98CAE336406}"/>
              </a:ext>
            </a:extLst>
          </p:cNvPr>
          <p:cNvSpPr txBox="1">
            <a:spLocks/>
          </p:cNvSpPr>
          <p:nvPr/>
        </p:nvSpPr>
        <p:spPr>
          <a:xfrm>
            <a:off x="408320" y="5809178"/>
            <a:ext cx="11970151" cy="772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AND PROPRIETARY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70A638-D031-44D8-8D0C-2987A663B6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9" y="3078723"/>
            <a:ext cx="11591924" cy="58370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oject Nam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17B940C-848A-448F-98A8-8FEAB59FA4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6" y="3662426"/>
            <a:ext cx="11591925" cy="8912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MY"/>
              <a:t>Subtitle</a:t>
            </a:r>
            <a:endParaRPr lang="en-GB"/>
          </a:p>
          <a:p>
            <a:pPr lvl="0"/>
            <a:r>
              <a:rPr lang="en-GB"/>
              <a:t>Team</a:t>
            </a:r>
          </a:p>
          <a:p>
            <a:pPr lvl="0"/>
            <a:r>
              <a:rPr lang="en-GB"/>
              <a:t>Date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7249809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D06DAA-E62E-F04F-B417-BE137AFC83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6F8645E-AB0B-B94F-8ADB-1C147FE443D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5F7D932A-8F34-4A42-8496-EC71FEA806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5918"/>
            <a:ext cx="720000" cy="720000"/>
          </a:xfrm>
          <a:prstGeom prst="rect">
            <a:avLst/>
          </a:prstGeom>
        </p:spPr>
      </p:pic>
      <p:sp>
        <p:nvSpPr>
          <p:cNvPr id="11" name="Content Placeholder 14">
            <a:extLst>
              <a:ext uri="{FF2B5EF4-FFF2-40B4-BE49-F238E27FC236}">
                <a16:creationId xmlns:a16="http://schemas.microsoft.com/office/drawing/2014/main" id="{7DB22074-FB73-43CF-9AE2-A7BFFD5302C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0038" y="3662426"/>
            <a:ext cx="11591923" cy="365125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AD349EE-4849-41AA-B56A-0C8E04EF68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9" y="3078723"/>
            <a:ext cx="11591924" cy="58370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Section Nam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259171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42C2CBB-AEF7-CB4F-9131-F7D5E24BA88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72745" y="6328659"/>
            <a:ext cx="8987173" cy="267852"/>
          </a:xfrm>
          <a:prstGeom prst="rect">
            <a:avLst/>
          </a:prstGeom>
        </p:spPr>
        <p:txBody>
          <a:bodyPr anchor="b"/>
          <a:lstStyle>
            <a:lvl1pPr marL="9525" indent="-9525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ource: LSC analysis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82FEE90-DE14-3948-AB5E-C8D46B3A6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259917" y="6328659"/>
            <a:ext cx="1632045" cy="267852"/>
          </a:xfrm>
        </p:spPr>
        <p:txBody>
          <a:bodyPr/>
          <a:lstStyle/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2E9860A2-5F09-9C41-8514-75AC2FC5E28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11591924" cy="180975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3DA3786F-2F35-C047-88FC-BFB6852B09F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0037" y="369888"/>
            <a:ext cx="11591925" cy="365125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Titles to be one line, never more than 2</a:t>
            </a:r>
          </a:p>
        </p:txBody>
      </p:sp>
      <p:sp>
        <p:nvSpPr>
          <p:cNvPr id="19" name="Content Placeholder 17">
            <a:extLst>
              <a:ext uri="{FF2B5EF4-FFF2-40B4-BE49-F238E27FC236}">
                <a16:creationId xmlns:a16="http://schemas.microsoft.com/office/drawing/2014/main" id="{B7EC81A2-7878-BC43-B17E-67F3349B177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7" y="735014"/>
            <a:ext cx="11591925" cy="317500"/>
          </a:xfrm>
          <a:prstGeom prst="rect">
            <a:avLst/>
          </a:prstGeom>
        </p:spPr>
        <p:txBody>
          <a:bodyPr anchor="t"/>
          <a:lstStyle>
            <a:lvl1pPr marL="9525" indent="-9525"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</p:spTree>
    <p:extLst>
      <p:ext uri="{BB962C8B-B14F-4D97-AF65-F5344CB8AC3E}">
        <p14:creationId xmlns:p14="http://schemas.microsoft.com/office/powerpoint/2010/main" val="7172509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Content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02CA069-43D9-9946-8021-311932FF4B26}"/>
              </a:ext>
            </a:extLst>
          </p:cNvPr>
          <p:cNvSpPr/>
          <p:nvPr/>
        </p:nvSpPr>
        <p:spPr>
          <a:xfrm>
            <a:off x="8124440" y="0"/>
            <a:ext cx="4064399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BC3E37-75CB-1E48-B220-BE35CE4E8A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DB62871F-E9FC-A249-A3A7-F807B63C408D}" type="slidenum">
              <a:rPr lang="en-US" smtClean="0"/>
              <a:pPr/>
              <a:t>‹#›</a:t>
            </a:fld>
            <a:endParaRPr lang="en-US" sz="1000"/>
          </a:p>
        </p:txBody>
      </p:sp>
      <p:sp>
        <p:nvSpPr>
          <p:cNvPr id="6" name="Content Placeholder 15">
            <a:extLst>
              <a:ext uri="{FF2B5EF4-FFF2-40B4-BE49-F238E27FC236}">
                <a16:creationId xmlns:a16="http://schemas.microsoft.com/office/drawing/2014/main" id="{24F0D4AF-7E74-9E49-8898-F1E4D54C318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7824402" cy="180975"/>
          </a:xfrm>
          <a:prstGeom prst="rect">
            <a:avLst/>
          </a:prstGeom>
        </p:spPr>
        <p:txBody>
          <a:bodyPr/>
          <a:lstStyle>
            <a:lvl1pPr marL="12700" indent="-12700"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7" name="Content Placeholder 17">
            <a:extLst>
              <a:ext uri="{FF2B5EF4-FFF2-40B4-BE49-F238E27FC236}">
                <a16:creationId xmlns:a16="http://schemas.microsoft.com/office/drawing/2014/main" id="{3DB15CAC-B8E1-F64A-BE09-755208894FC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0037" y="369888"/>
            <a:ext cx="7824403" cy="365125"/>
          </a:xfrm>
          <a:prstGeom prst="rect">
            <a:avLst/>
          </a:prstGeom>
        </p:spPr>
        <p:txBody>
          <a:bodyPr/>
          <a:lstStyle>
            <a:lvl1pPr marL="12700" indent="-12700">
              <a:spcBef>
                <a:spcPts val="0"/>
              </a:spcBef>
              <a:buNone/>
              <a:tabLst/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Titles to be one line, never more than 2</a:t>
            </a:r>
          </a:p>
        </p:txBody>
      </p:sp>
      <p:sp>
        <p:nvSpPr>
          <p:cNvPr id="8" name="Content Placeholder 17">
            <a:extLst>
              <a:ext uri="{FF2B5EF4-FFF2-40B4-BE49-F238E27FC236}">
                <a16:creationId xmlns:a16="http://schemas.microsoft.com/office/drawing/2014/main" id="{AAEC9897-1D19-5547-AF73-24AAB916293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7" y="735014"/>
            <a:ext cx="7824403" cy="317500"/>
          </a:xfrm>
          <a:prstGeom prst="rect">
            <a:avLst/>
          </a:prstGeom>
        </p:spPr>
        <p:txBody>
          <a:bodyPr anchor="t"/>
          <a:lstStyle>
            <a:lvl1pPr marL="12700" indent="-12700"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55A04608-DDFF-2541-9FA5-1F8FC16B7B5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72745" y="6328659"/>
            <a:ext cx="6851695" cy="267852"/>
          </a:xfrm>
          <a:prstGeom prst="rect">
            <a:avLst/>
          </a:prstGeom>
        </p:spPr>
        <p:txBody>
          <a:bodyPr anchor="b"/>
          <a:lstStyle>
            <a:lvl1pPr marL="9525" indent="-9525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ource: LSC analysis</a:t>
            </a:r>
          </a:p>
        </p:txBody>
      </p:sp>
    </p:spTree>
    <p:extLst>
      <p:ext uri="{BB962C8B-B14F-4D97-AF65-F5344CB8AC3E}">
        <p14:creationId xmlns:p14="http://schemas.microsoft.com/office/powerpoint/2010/main" val="390472325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Content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29CC70A-4983-A745-A85A-89B42374772D}"/>
              </a:ext>
            </a:extLst>
          </p:cNvPr>
          <p:cNvSpPr/>
          <p:nvPr/>
        </p:nvSpPr>
        <p:spPr>
          <a:xfrm>
            <a:off x="6095259" y="-1"/>
            <a:ext cx="6094800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F24B5E-4177-5A49-B4CD-54C6099704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DB62871F-E9FC-A249-A3A7-F807B63C408D}" type="slidenum">
              <a:rPr lang="en-US" smtClean="0"/>
              <a:pPr/>
              <a:t>‹#›</a:t>
            </a:fld>
            <a:endParaRPr lang="en-US" sz="1000"/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BCBA6188-BC27-194D-A2EE-24FDAF9A56B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72746" y="6328659"/>
            <a:ext cx="4822512" cy="267852"/>
          </a:xfrm>
          <a:prstGeom prst="rect">
            <a:avLst/>
          </a:prstGeom>
        </p:spPr>
        <p:txBody>
          <a:bodyPr anchor="b"/>
          <a:lstStyle>
            <a:lvl1pPr marL="9525" indent="-9525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ource: LSC analysis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44770496-0501-FC48-9547-7A59634DAF1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5795220" cy="180975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11" name="Content Placeholder 17">
            <a:extLst>
              <a:ext uri="{FF2B5EF4-FFF2-40B4-BE49-F238E27FC236}">
                <a16:creationId xmlns:a16="http://schemas.microsoft.com/office/drawing/2014/main" id="{AE3EBB54-773C-E846-8D56-45247B11663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0038" y="369888"/>
            <a:ext cx="5795222" cy="365125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Titles to be one line, never more than 2</a:t>
            </a:r>
          </a:p>
        </p:txBody>
      </p:sp>
      <p:sp>
        <p:nvSpPr>
          <p:cNvPr id="12" name="Content Placeholder 17">
            <a:extLst>
              <a:ext uri="{FF2B5EF4-FFF2-40B4-BE49-F238E27FC236}">
                <a16:creationId xmlns:a16="http://schemas.microsoft.com/office/drawing/2014/main" id="{1C4CD2D4-99F4-5C4D-B539-0E411237B20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8" y="735014"/>
            <a:ext cx="5795222" cy="317500"/>
          </a:xfrm>
          <a:prstGeom prst="rect">
            <a:avLst/>
          </a:prstGeom>
        </p:spPr>
        <p:txBody>
          <a:bodyPr anchor="t"/>
          <a:lstStyle>
            <a:lvl1pPr marL="9525" indent="-9525"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</p:spTree>
    <p:extLst>
      <p:ext uri="{BB962C8B-B14F-4D97-AF65-F5344CB8AC3E}">
        <p14:creationId xmlns:p14="http://schemas.microsoft.com/office/powerpoint/2010/main" val="2068861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Back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2CAF7EE-95ED-B844-8592-68524745A7A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D051582C-5279-BD46-AC11-5061D6B14A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5918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930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Content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29CC70A-4983-A745-A85A-89B42374772D}"/>
              </a:ext>
            </a:extLst>
          </p:cNvPr>
          <p:cNvSpPr/>
          <p:nvPr/>
        </p:nvSpPr>
        <p:spPr>
          <a:xfrm>
            <a:off x="6095259" y="-1"/>
            <a:ext cx="6094800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F24B5E-4177-5A49-B4CD-54C6099704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BCBA6188-BC27-194D-A2EE-24FDAF9A56B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72746" y="6328659"/>
            <a:ext cx="4822512" cy="267852"/>
          </a:xfrm>
          <a:prstGeom prst="rect">
            <a:avLst/>
          </a:prstGeom>
        </p:spPr>
        <p:txBody>
          <a:bodyPr anchor="b"/>
          <a:lstStyle>
            <a:lvl1pPr marL="9525" indent="-9525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ource: LSC analysis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44770496-0501-FC48-9547-7A59634DAF1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5795220" cy="180975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11" name="Content Placeholder 17">
            <a:extLst>
              <a:ext uri="{FF2B5EF4-FFF2-40B4-BE49-F238E27FC236}">
                <a16:creationId xmlns:a16="http://schemas.microsoft.com/office/drawing/2014/main" id="{AE3EBB54-773C-E846-8D56-45247B11663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0038" y="369888"/>
            <a:ext cx="5795222" cy="365125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Titles to be one line, never more than 2</a:t>
            </a:r>
          </a:p>
        </p:txBody>
      </p:sp>
      <p:sp>
        <p:nvSpPr>
          <p:cNvPr id="12" name="Content Placeholder 17">
            <a:extLst>
              <a:ext uri="{FF2B5EF4-FFF2-40B4-BE49-F238E27FC236}">
                <a16:creationId xmlns:a16="http://schemas.microsoft.com/office/drawing/2014/main" id="{1C4CD2D4-99F4-5C4D-B539-0E411237B20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8" y="735014"/>
            <a:ext cx="5795222" cy="317500"/>
          </a:xfrm>
          <a:prstGeom prst="rect">
            <a:avLst/>
          </a:prstGeom>
        </p:spPr>
        <p:txBody>
          <a:bodyPr anchor="t"/>
          <a:lstStyle>
            <a:lvl1pPr marL="9525" indent="-9525"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</p:spTree>
    <p:extLst>
      <p:ext uri="{BB962C8B-B14F-4D97-AF65-F5344CB8AC3E}">
        <p14:creationId xmlns:p14="http://schemas.microsoft.com/office/powerpoint/2010/main" val="58143923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SC Strategy Content">
  <p:cSld name="1_LSC Strategy Content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8"/>
          <p:cNvSpPr txBox="1">
            <a:spLocks noGrp="1"/>
          </p:cNvSpPr>
          <p:nvPr>
            <p:ph type="sldNum" idx="12"/>
          </p:nvPr>
        </p:nvSpPr>
        <p:spPr>
          <a:xfrm>
            <a:off x="10259917" y="6328659"/>
            <a:ext cx="1632045" cy="267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Google Shape;28;p38"/>
          <p:cNvSpPr txBox="1">
            <a:spLocks noGrp="1"/>
          </p:cNvSpPr>
          <p:nvPr>
            <p:ph type="body" idx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Google Shape;29;p38"/>
          <p:cNvSpPr txBox="1">
            <a:spLocks noGrp="1"/>
          </p:cNvSpPr>
          <p:nvPr>
            <p:ph type="title"/>
          </p:nvPr>
        </p:nvSpPr>
        <p:spPr>
          <a:xfrm>
            <a:off x="300035" y="369888"/>
            <a:ext cx="1159192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Times New Roman"/>
              <a:buNone/>
              <a:defRPr sz="2500" b="1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0" name="Google Shape;30;p38"/>
          <p:cNvSpPr txBox="1">
            <a:spLocks noGrp="1"/>
          </p:cNvSpPr>
          <p:nvPr>
            <p:ph type="body" idx="2"/>
          </p:nvPr>
        </p:nvSpPr>
        <p:spPr>
          <a:xfrm>
            <a:off x="300034" y="732144"/>
            <a:ext cx="11591926" cy="317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048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Google Shape;31;p38"/>
          <p:cNvSpPr txBox="1">
            <a:spLocks noGrp="1"/>
          </p:cNvSpPr>
          <p:nvPr>
            <p:ph type="body" idx="3"/>
          </p:nvPr>
        </p:nvSpPr>
        <p:spPr>
          <a:xfrm>
            <a:off x="1273173" y="6329363"/>
            <a:ext cx="8986743" cy="2671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21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21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21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21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339015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7C8D6A01-45B1-4D83-8534-333183F2C6A1}" type="datetimeFigureOut">
              <a:rPr lang="en-GB" smtClean="0"/>
              <a:t>02/01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863432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D6A01-45B1-4D83-8534-333183F2C6A1}" type="datetimeFigureOut">
              <a:rPr lang="en-GB" smtClean="0"/>
              <a:t>02/01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072498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Digital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310969-343A-AD4B-9D7B-C06E623804D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8FE49EE-8B4E-9C45-8BAF-1AD46055589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14">
            <a:extLst>
              <a:ext uri="{FF2B5EF4-FFF2-40B4-BE49-F238E27FC236}">
                <a16:creationId xmlns:a16="http://schemas.microsoft.com/office/drawing/2014/main" id="{DA635C24-A14C-9249-84D9-F52BE7C3F2C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0038" y="3662426"/>
            <a:ext cx="11591923" cy="365125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C55821B2-8871-CC49-8635-E5780038B7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6995" y="5308291"/>
            <a:ext cx="720564" cy="7200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8A4B0DC8-B5ED-8646-BDDC-0CD92B124D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320" y="5304821"/>
            <a:ext cx="720000" cy="720000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40A748C5-729C-4909-85CE-5054D8E84C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9" y="3078723"/>
            <a:ext cx="11591924" cy="58370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Section Nam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619321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Digital Content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02CA069-43D9-9946-8021-311932FF4B26}"/>
              </a:ext>
            </a:extLst>
          </p:cNvPr>
          <p:cNvSpPr/>
          <p:nvPr/>
        </p:nvSpPr>
        <p:spPr>
          <a:xfrm>
            <a:off x="8124440" y="0"/>
            <a:ext cx="4064399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BC3E37-75CB-1E48-B220-BE35CE4E8A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DB62871F-E9FC-A249-A3A7-F807B63C408D}" type="slidenum">
              <a:rPr lang="en-US" smtClean="0"/>
              <a:pPr/>
              <a:t>‹#›</a:t>
            </a:fld>
            <a:endParaRPr lang="en-US" sz="1000"/>
          </a:p>
        </p:txBody>
      </p:sp>
      <p:sp>
        <p:nvSpPr>
          <p:cNvPr id="9" name="Content Placeholder 15">
            <a:extLst>
              <a:ext uri="{FF2B5EF4-FFF2-40B4-BE49-F238E27FC236}">
                <a16:creationId xmlns:a16="http://schemas.microsoft.com/office/drawing/2014/main" id="{4D90CC7D-37A3-6545-8F52-D997D41D837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 anchor="t"/>
          <a:lstStyle>
            <a:lvl1pPr marL="0" indent="12700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12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Topic | Subtopic</a:t>
            </a:r>
          </a:p>
        </p:txBody>
      </p:sp>
      <p:sp>
        <p:nvSpPr>
          <p:cNvPr id="11" name="Content Placeholder 17">
            <a:extLst>
              <a:ext uri="{FF2B5EF4-FFF2-40B4-BE49-F238E27FC236}">
                <a16:creationId xmlns:a16="http://schemas.microsoft.com/office/drawing/2014/main" id="{FC8B1901-A797-774D-9E05-32781353805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8" y="735014"/>
            <a:ext cx="7824404" cy="317500"/>
          </a:xfrm>
          <a:prstGeom prst="rect">
            <a:avLst/>
          </a:prstGeom>
        </p:spPr>
        <p:txBody>
          <a:bodyPr anchor="t"/>
          <a:lstStyle>
            <a:lvl1pPr marL="0" indent="12700">
              <a:lnSpc>
                <a:spcPct val="100000"/>
              </a:lnSpc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19B22F73-C541-0043-BF6F-926C0D661D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64735" y="6324730"/>
            <a:ext cx="7690048" cy="267852"/>
          </a:xfrm>
          <a:prstGeom prst="rect">
            <a:avLst/>
          </a:prstGeom>
        </p:spPr>
        <p:txBody>
          <a:bodyPr anchor="b"/>
          <a:lstStyle>
            <a:lvl1pPr marL="12700" indent="-12700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MY"/>
              <a:t>Source: LSC Digital analysi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54FA2C4-61A9-024E-BFBA-C8FE98E3C1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7" y="370390"/>
            <a:ext cx="7824404" cy="363392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Titles to be one line, never more than 2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097182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Digital Content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29CC70A-4983-A745-A85A-89B42374772D}"/>
              </a:ext>
            </a:extLst>
          </p:cNvPr>
          <p:cNvSpPr/>
          <p:nvPr/>
        </p:nvSpPr>
        <p:spPr>
          <a:xfrm>
            <a:off x="6095259" y="-1"/>
            <a:ext cx="6094800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F24B5E-4177-5A49-B4CD-54C6099704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DB62871F-E9FC-A249-A3A7-F807B63C408D}" type="slidenum">
              <a:rPr lang="en-US" smtClean="0"/>
              <a:pPr/>
              <a:t>‹#›</a:t>
            </a:fld>
            <a:endParaRPr lang="en-US" sz="1000"/>
          </a:p>
        </p:txBody>
      </p:sp>
      <p:sp>
        <p:nvSpPr>
          <p:cNvPr id="9" name="Content Placeholder 15">
            <a:extLst>
              <a:ext uri="{FF2B5EF4-FFF2-40B4-BE49-F238E27FC236}">
                <a16:creationId xmlns:a16="http://schemas.microsoft.com/office/drawing/2014/main" id="{8901ABB3-027A-7249-9575-51B72501CCC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 anchor="t"/>
          <a:lstStyle>
            <a:lvl1pPr marL="0" indent="12700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11" name="Content Placeholder 17">
            <a:extLst>
              <a:ext uri="{FF2B5EF4-FFF2-40B4-BE49-F238E27FC236}">
                <a16:creationId xmlns:a16="http://schemas.microsoft.com/office/drawing/2014/main" id="{21F80CE6-DE3C-8D41-8E00-34D4BBF2C54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7" y="735014"/>
            <a:ext cx="5795223" cy="317500"/>
          </a:xfrm>
          <a:prstGeom prst="rect">
            <a:avLst/>
          </a:prstGeom>
        </p:spPr>
        <p:txBody>
          <a:bodyPr anchor="t"/>
          <a:lstStyle>
            <a:lvl1pPr marL="0" indent="12700">
              <a:lnSpc>
                <a:spcPct val="100000"/>
              </a:lnSpc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697144FA-DFB5-AA4A-8F12-12F8613717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64735" y="6324730"/>
            <a:ext cx="7690048" cy="267852"/>
          </a:xfrm>
          <a:prstGeom prst="rect">
            <a:avLst/>
          </a:prstGeom>
        </p:spPr>
        <p:txBody>
          <a:bodyPr anchor="b"/>
          <a:lstStyle>
            <a:lvl1pPr marL="12700" indent="-12700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MY"/>
              <a:t>Source: LSC Digital analysi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2A0C871-F13D-4A4F-B2D9-13E99CDB1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6" y="370390"/>
            <a:ext cx="5795223" cy="363392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Titles to be one line, never more than 2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306793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SC Digital Back p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051907B-B7F3-4865-9CEC-ECB4EB310837}"/>
              </a:ext>
            </a:extLst>
          </p:cNvPr>
          <p:cNvSpPr/>
          <p:nvPr/>
        </p:nvSpPr>
        <p:spPr>
          <a:xfrm>
            <a:off x="-860285" y="5937835"/>
            <a:ext cx="548604" cy="39354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E6643E8-9FB7-4030-B6E4-AD3B1BE564F4}"/>
              </a:ext>
            </a:extLst>
          </p:cNvPr>
          <p:cNvSpPr/>
          <p:nvPr/>
        </p:nvSpPr>
        <p:spPr>
          <a:xfrm>
            <a:off x="-858562" y="4177225"/>
            <a:ext cx="548604" cy="3935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D16E31E-6D85-4E30-9395-EF772A5178A1}"/>
              </a:ext>
            </a:extLst>
          </p:cNvPr>
          <p:cNvSpPr/>
          <p:nvPr/>
        </p:nvSpPr>
        <p:spPr>
          <a:xfrm>
            <a:off x="-860285" y="4764095"/>
            <a:ext cx="548604" cy="3935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16172FD-BBAD-4063-B482-06529336C53D}"/>
              </a:ext>
            </a:extLst>
          </p:cNvPr>
          <p:cNvSpPr/>
          <p:nvPr/>
        </p:nvSpPr>
        <p:spPr>
          <a:xfrm>
            <a:off x="-860285" y="5350965"/>
            <a:ext cx="548604" cy="3935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A106209-246C-4EB2-A28A-6A76479DE898}"/>
              </a:ext>
            </a:extLst>
          </p:cNvPr>
          <p:cNvSpPr/>
          <p:nvPr/>
        </p:nvSpPr>
        <p:spPr>
          <a:xfrm>
            <a:off x="-860285" y="6524705"/>
            <a:ext cx="548604" cy="393540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 descr="Logo, company name&#10;&#10;Description automatically generated">
            <a:extLst>
              <a:ext uri="{FF2B5EF4-FFF2-40B4-BE49-F238E27FC236}">
                <a16:creationId xmlns:a16="http://schemas.microsoft.com/office/drawing/2014/main" id="{E0CB13EE-4BFD-7A4D-8BC0-37519DBF08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6995" y="5308291"/>
            <a:ext cx="720564" cy="720000"/>
          </a:xfrm>
          <a:prstGeom prst="rect">
            <a:avLst/>
          </a:prstGeom>
        </p:spPr>
      </p:pic>
      <p:pic>
        <p:nvPicPr>
          <p:cNvPr id="16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42F855-CD01-8E44-B5C1-02EFFB23D9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320" y="5304821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2784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CD70841-5ACD-594B-97DB-9B32B7BD309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33109562-61E2-C442-B61F-C20C81DE23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5918"/>
            <a:ext cx="720000" cy="720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E1F3246-4A29-FC47-A4D1-E98CAE336406}"/>
              </a:ext>
            </a:extLst>
          </p:cNvPr>
          <p:cNvSpPr txBox="1">
            <a:spLocks/>
          </p:cNvSpPr>
          <p:nvPr/>
        </p:nvSpPr>
        <p:spPr>
          <a:xfrm>
            <a:off x="408320" y="5809178"/>
            <a:ext cx="11970151" cy="772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AND PROPRIETARY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70A638-D031-44D8-8D0C-2987A663B6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9" y="3078723"/>
            <a:ext cx="11591924" cy="58370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oject Nam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17B940C-848A-448F-98A8-8FEAB59FA4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6" y="3662426"/>
            <a:ext cx="11591925" cy="8912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MY"/>
              <a:t>Subtitle</a:t>
            </a:r>
            <a:endParaRPr lang="en-GB"/>
          </a:p>
          <a:p>
            <a:pPr lvl="0"/>
            <a:r>
              <a:rPr lang="en-GB"/>
              <a:t>Team</a:t>
            </a:r>
          </a:p>
          <a:p>
            <a:pPr lvl="0"/>
            <a:r>
              <a:rPr lang="en-GB"/>
              <a:t>Date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52333891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42C2CBB-AEF7-CB4F-9131-F7D5E24BA88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72745" y="6328659"/>
            <a:ext cx="8987173" cy="267852"/>
          </a:xfrm>
          <a:prstGeom prst="rect">
            <a:avLst/>
          </a:prstGeom>
        </p:spPr>
        <p:txBody>
          <a:bodyPr anchor="b"/>
          <a:lstStyle>
            <a:lvl1pPr marL="9525" indent="-9525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ource: LSC analysis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82FEE90-DE14-3948-AB5E-C8D46B3A6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259917" y="6328659"/>
            <a:ext cx="1632045" cy="267852"/>
          </a:xfrm>
        </p:spPr>
        <p:txBody>
          <a:bodyPr/>
          <a:lstStyle/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2E9860A2-5F09-9C41-8514-75AC2FC5E28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11591924" cy="180975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3DA3786F-2F35-C047-88FC-BFB6852B09F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0037" y="369888"/>
            <a:ext cx="11591925" cy="365125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Titles to be one line, never more than 2</a:t>
            </a:r>
          </a:p>
        </p:txBody>
      </p:sp>
      <p:sp>
        <p:nvSpPr>
          <p:cNvPr id="19" name="Content Placeholder 17">
            <a:extLst>
              <a:ext uri="{FF2B5EF4-FFF2-40B4-BE49-F238E27FC236}">
                <a16:creationId xmlns:a16="http://schemas.microsoft.com/office/drawing/2014/main" id="{B7EC81A2-7878-BC43-B17E-67F3349B177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7" y="735014"/>
            <a:ext cx="11591925" cy="317500"/>
          </a:xfrm>
          <a:prstGeom prst="rect">
            <a:avLst/>
          </a:prstGeom>
        </p:spPr>
        <p:txBody>
          <a:bodyPr anchor="t"/>
          <a:lstStyle>
            <a:lvl1pPr marL="9525" indent="-9525"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</p:spTree>
    <p:extLst>
      <p:ext uri="{BB962C8B-B14F-4D97-AF65-F5344CB8AC3E}">
        <p14:creationId xmlns:p14="http://schemas.microsoft.com/office/powerpoint/2010/main" val="216685346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SC Strategy Content" preserve="1">
  <p:cSld name="1_LSC Strategy Content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8"/>
          <p:cNvSpPr txBox="1">
            <a:spLocks noGrp="1"/>
          </p:cNvSpPr>
          <p:nvPr>
            <p:ph type="sldNum" idx="12"/>
          </p:nvPr>
        </p:nvSpPr>
        <p:spPr>
          <a:xfrm>
            <a:off x="10259917" y="6328659"/>
            <a:ext cx="1632045" cy="267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8" name="Google Shape;28;p38"/>
          <p:cNvSpPr txBox="1">
            <a:spLocks noGrp="1"/>
          </p:cNvSpPr>
          <p:nvPr>
            <p:ph type="body" idx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Google Shape;29;p38"/>
          <p:cNvSpPr txBox="1">
            <a:spLocks noGrp="1"/>
          </p:cNvSpPr>
          <p:nvPr>
            <p:ph type="title"/>
          </p:nvPr>
        </p:nvSpPr>
        <p:spPr>
          <a:xfrm>
            <a:off x="300035" y="369888"/>
            <a:ext cx="1159192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Times New Roman"/>
              <a:buNone/>
              <a:defRPr sz="2500" b="1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0" name="Google Shape;30;p38"/>
          <p:cNvSpPr txBox="1">
            <a:spLocks noGrp="1"/>
          </p:cNvSpPr>
          <p:nvPr>
            <p:ph type="body" idx="2"/>
          </p:nvPr>
        </p:nvSpPr>
        <p:spPr>
          <a:xfrm>
            <a:off x="300034" y="732144"/>
            <a:ext cx="11591926" cy="317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048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Google Shape;31;p38"/>
          <p:cNvSpPr txBox="1">
            <a:spLocks noGrp="1"/>
          </p:cNvSpPr>
          <p:nvPr>
            <p:ph type="body" idx="3"/>
          </p:nvPr>
        </p:nvSpPr>
        <p:spPr>
          <a:xfrm>
            <a:off x="1273173" y="6329363"/>
            <a:ext cx="8986743" cy="2671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21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21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21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21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07164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Back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2CAF7EE-95ED-B844-8592-68524745A7A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D051582C-5279-BD46-AC11-5061D6B14A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5918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8483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D06DAA-E62E-F04F-B417-BE137AFC83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6F8645E-AB0B-B94F-8ADB-1C147FE443D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5F7D932A-8F34-4A42-8496-EC71FEA806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5918"/>
            <a:ext cx="720000" cy="720000"/>
          </a:xfrm>
          <a:prstGeom prst="rect">
            <a:avLst/>
          </a:prstGeom>
        </p:spPr>
      </p:pic>
      <p:sp>
        <p:nvSpPr>
          <p:cNvPr id="11" name="Content Placeholder 14">
            <a:extLst>
              <a:ext uri="{FF2B5EF4-FFF2-40B4-BE49-F238E27FC236}">
                <a16:creationId xmlns:a16="http://schemas.microsoft.com/office/drawing/2014/main" id="{7DB22074-FB73-43CF-9AE2-A7BFFD5302C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0038" y="3662426"/>
            <a:ext cx="11591923" cy="365125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AD349EE-4849-41AA-B56A-0C8E04EF68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9" y="3078723"/>
            <a:ext cx="11591924" cy="58370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Section Nam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273869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Back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2CAF7EE-95ED-B844-8592-68524745A7A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D051582C-5279-BD46-AC11-5061D6B14A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5918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2542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ustai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5D9042-E464-EF40-B68E-8E905F1ECBF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51EE53-A9E1-CA43-AD23-38605B0C9F7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icture containing text, outdoor&#10;&#10;Description automatically generated">
            <a:extLst>
              <a:ext uri="{FF2B5EF4-FFF2-40B4-BE49-F238E27FC236}">
                <a16:creationId xmlns:a16="http://schemas.microsoft.com/office/drawing/2014/main" id="{69242E5C-ED2A-F640-8771-B3E88B12AF7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001E45"/>
              </a:clrFrom>
              <a:clrTo>
                <a:srgbClr val="001E45">
                  <a:alpha val="0"/>
                </a:srgbClr>
              </a:clrTo>
            </a:clrChange>
          </a:blip>
          <a:srcRect l="493" t="1038" r="493" b="1"/>
          <a:stretch/>
        </p:blipFill>
        <p:spPr>
          <a:xfrm>
            <a:off x="1230008" y="5312448"/>
            <a:ext cx="727551" cy="720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E8545C4B-7EF5-1A4F-B690-6BB55952B25A}"/>
              </a:ext>
            </a:extLst>
          </p:cNvPr>
          <p:cNvSpPr txBox="1">
            <a:spLocks/>
          </p:cNvSpPr>
          <p:nvPr/>
        </p:nvSpPr>
        <p:spPr>
          <a:xfrm>
            <a:off x="408320" y="5809178"/>
            <a:ext cx="11483641" cy="772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AND PROPRIETARY</a:t>
            </a:r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474222B6-BD16-4C4B-9E2D-2CFDACB896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320" y="5312448"/>
            <a:ext cx="720000" cy="720000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54C419EF-3FF2-49DB-A764-6AD6C6A628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9" y="3078723"/>
            <a:ext cx="11591924" cy="58370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oject Name</a:t>
            </a:r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8443391-98F8-49C6-9468-673AA39C234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6" y="3662426"/>
            <a:ext cx="11591925" cy="8912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MY"/>
              <a:t>Subtitle</a:t>
            </a:r>
            <a:endParaRPr lang="en-GB"/>
          </a:p>
          <a:p>
            <a:pPr lvl="0"/>
            <a:r>
              <a:rPr lang="en-GB"/>
              <a:t>Team</a:t>
            </a:r>
          </a:p>
          <a:p>
            <a:pPr lvl="0"/>
            <a:r>
              <a:rPr lang="en-GB"/>
              <a:t>Date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0178573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ustain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93E58A4-7D3F-7843-AEF6-E3F26516FA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E5D965B-AE36-7D45-8412-4D73887DC9A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icture containing text, outdoor&#10;&#10;Description automatically generated">
            <a:extLst>
              <a:ext uri="{FF2B5EF4-FFF2-40B4-BE49-F238E27FC236}">
                <a16:creationId xmlns:a16="http://schemas.microsoft.com/office/drawing/2014/main" id="{1B0CB9A9-B6B1-154D-90C1-3D2EB71981C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001E45"/>
              </a:clrFrom>
              <a:clrTo>
                <a:srgbClr val="001E45">
                  <a:alpha val="0"/>
                </a:srgbClr>
              </a:clrTo>
            </a:clrChange>
          </a:blip>
          <a:srcRect l="493" t="1038" r="493" b="1"/>
          <a:stretch/>
        </p:blipFill>
        <p:spPr>
          <a:xfrm>
            <a:off x="1230008" y="5312448"/>
            <a:ext cx="727551" cy="720000"/>
          </a:xfrm>
          <a:prstGeom prst="rect">
            <a:avLst/>
          </a:prstGeom>
        </p:spPr>
      </p:pic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AB88DE74-7EF7-3948-8588-02C1ECAA36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320" y="5312448"/>
            <a:ext cx="720000" cy="720000"/>
          </a:xfrm>
          <a:prstGeom prst="rect">
            <a:avLst/>
          </a:prstGeom>
        </p:spPr>
      </p:pic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0129F2E8-4397-42AE-B2E7-1B0B809595F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0038" y="3662426"/>
            <a:ext cx="11591923" cy="365125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68BB1035-04E2-401E-89CE-36ED9D660B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9" y="3078723"/>
            <a:ext cx="11591924" cy="58370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Section Nam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659452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ustai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CDB969-64DB-EF4D-9CD9-BBE6C92B97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15">
            <a:extLst>
              <a:ext uri="{FF2B5EF4-FFF2-40B4-BE49-F238E27FC236}">
                <a16:creationId xmlns:a16="http://schemas.microsoft.com/office/drawing/2014/main" id="{7FBFD3DF-473A-244A-ACF6-3800CE9F761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 anchor="t"/>
          <a:lstStyle>
            <a:lvl1pPr marL="0" indent="12700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5" name="Content Placeholder 17">
            <a:extLst>
              <a:ext uri="{FF2B5EF4-FFF2-40B4-BE49-F238E27FC236}">
                <a16:creationId xmlns:a16="http://schemas.microsoft.com/office/drawing/2014/main" id="{A042689D-AEBB-C34A-BC08-D1CBF89A86A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7" y="735014"/>
            <a:ext cx="11591925" cy="317500"/>
          </a:xfrm>
          <a:prstGeom prst="rect">
            <a:avLst/>
          </a:prstGeom>
        </p:spPr>
        <p:txBody>
          <a:bodyPr anchor="t"/>
          <a:lstStyle>
            <a:lvl1pPr marL="0" indent="12700">
              <a:lnSpc>
                <a:spcPct val="100000"/>
              </a:lnSpc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40C9B46-4670-6A42-8C5E-9C16C77158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64735" y="6324730"/>
            <a:ext cx="7690048" cy="267852"/>
          </a:xfrm>
          <a:prstGeom prst="rect">
            <a:avLst/>
          </a:prstGeom>
        </p:spPr>
        <p:txBody>
          <a:bodyPr anchor="b"/>
          <a:lstStyle>
            <a:lvl1pPr marL="12700" indent="-12700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MY"/>
              <a:t>Source: LSC Sustain analysi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25E3819-E32E-9A41-8DF7-34FBE0CD49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6" y="370390"/>
            <a:ext cx="11591925" cy="363392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Titles to be one line, never more than 2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78966943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ustain Content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02CA069-43D9-9946-8021-311932FF4B26}"/>
              </a:ext>
            </a:extLst>
          </p:cNvPr>
          <p:cNvSpPr/>
          <p:nvPr/>
        </p:nvSpPr>
        <p:spPr>
          <a:xfrm>
            <a:off x="8124440" y="0"/>
            <a:ext cx="4064399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BC3E37-75CB-1E48-B220-BE35CE4E8A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DB62871F-E9FC-A249-A3A7-F807B63C408D}" type="slidenum">
              <a:rPr lang="en-US" smtClean="0"/>
              <a:pPr/>
              <a:t>‹#›</a:t>
            </a:fld>
            <a:endParaRPr lang="en-US" sz="1000"/>
          </a:p>
        </p:txBody>
      </p:sp>
      <p:sp>
        <p:nvSpPr>
          <p:cNvPr id="9" name="Content Placeholder 15">
            <a:extLst>
              <a:ext uri="{FF2B5EF4-FFF2-40B4-BE49-F238E27FC236}">
                <a16:creationId xmlns:a16="http://schemas.microsoft.com/office/drawing/2014/main" id="{0D2EB152-C09B-8C4F-AAC9-36FE213907B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 anchor="t"/>
          <a:lstStyle>
            <a:lvl1pPr marL="0" indent="12700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11" name="Content Placeholder 17">
            <a:extLst>
              <a:ext uri="{FF2B5EF4-FFF2-40B4-BE49-F238E27FC236}">
                <a16:creationId xmlns:a16="http://schemas.microsoft.com/office/drawing/2014/main" id="{2E5FE7DC-39C1-6840-9445-8A17B0EB5AB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8" y="735014"/>
            <a:ext cx="7824404" cy="317500"/>
          </a:xfrm>
          <a:prstGeom prst="rect">
            <a:avLst/>
          </a:prstGeom>
        </p:spPr>
        <p:txBody>
          <a:bodyPr anchor="t"/>
          <a:lstStyle>
            <a:lvl1pPr marL="0" indent="12700">
              <a:lnSpc>
                <a:spcPct val="100000"/>
              </a:lnSpc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B606686-A9A8-BB4D-B45F-94E9A71C7F5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64735" y="6324730"/>
            <a:ext cx="7690048" cy="267852"/>
          </a:xfrm>
          <a:prstGeom prst="rect">
            <a:avLst/>
          </a:prstGeom>
        </p:spPr>
        <p:txBody>
          <a:bodyPr anchor="b"/>
          <a:lstStyle>
            <a:lvl1pPr marL="12700" indent="-12700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MY"/>
              <a:t>Source: LSC Sustain analysi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523B653-6866-8044-8B46-A4E4DFCEA2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7" y="370390"/>
            <a:ext cx="7824404" cy="363392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Titles to be one line, never more than 2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18381395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ustain Content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29CC70A-4983-A745-A85A-89B42374772D}"/>
              </a:ext>
            </a:extLst>
          </p:cNvPr>
          <p:cNvSpPr/>
          <p:nvPr/>
        </p:nvSpPr>
        <p:spPr>
          <a:xfrm>
            <a:off x="6095259" y="-1"/>
            <a:ext cx="6094800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F24B5E-4177-5A49-B4CD-54C6099704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DB62871F-E9FC-A249-A3A7-F807B63C408D}" type="slidenum">
              <a:rPr lang="en-US" smtClean="0"/>
              <a:pPr/>
              <a:t>‹#›</a:t>
            </a:fld>
            <a:endParaRPr lang="en-US" sz="1000"/>
          </a:p>
        </p:txBody>
      </p:sp>
      <p:sp>
        <p:nvSpPr>
          <p:cNvPr id="9" name="Content Placeholder 15">
            <a:extLst>
              <a:ext uri="{FF2B5EF4-FFF2-40B4-BE49-F238E27FC236}">
                <a16:creationId xmlns:a16="http://schemas.microsoft.com/office/drawing/2014/main" id="{22FFDD4B-64BF-664A-85EA-C95CAFA06A10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 anchor="t"/>
          <a:lstStyle>
            <a:lvl1pPr marL="0" indent="12700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11" name="Content Placeholder 17">
            <a:extLst>
              <a:ext uri="{FF2B5EF4-FFF2-40B4-BE49-F238E27FC236}">
                <a16:creationId xmlns:a16="http://schemas.microsoft.com/office/drawing/2014/main" id="{DDCA93F0-2F5D-F945-A7F7-EC513A69C67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7" y="735014"/>
            <a:ext cx="5795223" cy="317500"/>
          </a:xfrm>
          <a:prstGeom prst="rect">
            <a:avLst/>
          </a:prstGeom>
        </p:spPr>
        <p:txBody>
          <a:bodyPr anchor="t"/>
          <a:lstStyle>
            <a:lvl1pPr marL="0" indent="12700">
              <a:lnSpc>
                <a:spcPct val="100000"/>
              </a:lnSpc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B8E72EB-2D67-1B44-9B53-5120210477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64735" y="6324730"/>
            <a:ext cx="7690048" cy="267852"/>
          </a:xfrm>
          <a:prstGeom prst="rect">
            <a:avLst/>
          </a:prstGeom>
        </p:spPr>
        <p:txBody>
          <a:bodyPr anchor="b"/>
          <a:lstStyle>
            <a:lvl1pPr marL="12700" indent="-12700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MY"/>
              <a:t>Source: LSC Sustain analysi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B2776EF-DAE5-7A46-B948-EBAAB58F1D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6" y="370390"/>
            <a:ext cx="5795223" cy="363392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Titles to be one line, never more than 2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64038245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SC Sustain Back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447034-D336-4C23-AE32-9A4A3EE1B4EE}"/>
              </a:ext>
            </a:extLst>
          </p:cNvPr>
          <p:cNvSpPr/>
          <p:nvPr/>
        </p:nvSpPr>
        <p:spPr>
          <a:xfrm>
            <a:off x="-860285" y="5937835"/>
            <a:ext cx="548604" cy="39354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2795BE-28F4-4EE7-B16F-1FC36A00827A}"/>
              </a:ext>
            </a:extLst>
          </p:cNvPr>
          <p:cNvSpPr/>
          <p:nvPr/>
        </p:nvSpPr>
        <p:spPr>
          <a:xfrm>
            <a:off x="-858562" y="4177225"/>
            <a:ext cx="548604" cy="3935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B6DEE36-6C96-405E-A1EF-6A4F05CEFD3E}"/>
              </a:ext>
            </a:extLst>
          </p:cNvPr>
          <p:cNvSpPr/>
          <p:nvPr/>
        </p:nvSpPr>
        <p:spPr>
          <a:xfrm>
            <a:off x="-860285" y="4764095"/>
            <a:ext cx="548604" cy="3935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7294DDC-DB63-4E93-A138-270DD26E27BA}"/>
              </a:ext>
            </a:extLst>
          </p:cNvPr>
          <p:cNvSpPr/>
          <p:nvPr/>
        </p:nvSpPr>
        <p:spPr>
          <a:xfrm>
            <a:off x="-860285" y="5350965"/>
            <a:ext cx="548604" cy="39354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D0D206-9942-42DE-BA24-E5B8AA0ADD92}"/>
              </a:ext>
            </a:extLst>
          </p:cNvPr>
          <p:cNvSpPr/>
          <p:nvPr/>
        </p:nvSpPr>
        <p:spPr>
          <a:xfrm>
            <a:off x="-860285" y="6524705"/>
            <a:ext cx="548604" cy="39354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 descr="A picture containing text, outdoor&#10;&#10;Description automatically generated">
            <a:extLst>
              <a:ext uri="{FF2B5EF4-FFF2-40B4-BE49-F238E27FC236}">
                <a16:creationId xmlns:a16="http://schemas.microsoft.com/office/drawing/2014/main" id="{0AA0387C-2863-0C4E-B014-5C84EEAFCFC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001E45"/>
              </a:clrFrom>
              <a:clrTo>
                <a:srgbClr val="001E45">
                  <a:alpha val="0"/>
                </a:srgbClr>
              </a:clrTo>
            </a:clrChange>
          </a:blip>
          <a:srcRect l="493" t="1038" r="493" b="1"/>
          <a:stretch/>
        </p:blipFill>
        <p:spPr>
          <a:xfrm>
            <a:off x="1230008" y="5312448"/>
            <a:ext cx="727551" cy="720000"/>
          </a:xfrm>
          <a:prstGeom prst="rect">
            <a:avLst/>
          </a:prstGeom>
        </p:spPr>
      </p:pic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29E31283-C5AB-4D49-B689-420959C446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320" y="5312448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42335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SC BKG Cover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BE02A781-FC5D-4103-BDE5-D0AF081B6C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6796"/>
            <a:ext cx="1675688" cy="720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E1F3246-4A29-FC47-A4D1-E98CAE336406}"/>
              </a:ext>
            </a:extLst>
          </p:cNvPr>
          <p:cNvSpPr txBox="1">
            <a:spLocks/>
          </p:cNvSpPr>
          <p:nvPr/>
        </p:nvSpPr>
        <p:spPr>
          <a:xfrm>
            <a:off x="408320" y="5809178"/>
            <a:ext cx="11483641" cy="772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AND PROPRIETAR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16A572F-D7CD-4CDF-AD01-C102E3C618B6}"/>
              </a:ext>
            </a:extLst>
          </p:cNvPr>
          <p:cNvSpPr/>
          <p:nvPr/>
        </p:nvSpPr>
        <p:spPr>
          <a:xfrm>
            <a:off x="-860285" y="5937835"/>
            <a:ext cx="548604" cy="39354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13B504-D6EE-4D4A-8866-37E63923A933}"/>
              </a:ext>
            </a:extLst>
          </p:cNvPr>
          <p:cNvSpPr/>
          <p:nvPr/>
        </p:nvSpPr>
        <p:spPr>
          <a:xfrm>
            <a:off x="-858562" y="4177225"/>
            <a:ext cx="548604" cy="3935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DE7E047-7814-409E-B77A-F645A918BA7F}"/>
              </a:ext>
            </a:extLst>
          </p:cNvPr>
          <p:cNvSpPr/>
          <p:nvPr/>
        </p:nvSpPr>
        <p:spPr>
          <a:xfrm>
            <a:off x="-860285" y="4764095"/>
            <a:ext cx="548604" cy="3935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3438AA5-B497-4CEC-B87F-227F66049438}"/>
              </a:ext>
            </a:extLst>
          </p:cNvPr>
          <p:cNvSpPr/>
          <p:nvPr/>
        </p:nvSpPr>
        <p:spPr>
          <a:xfrm>
            <a:off x="-860285" y="5350965"/>
            <a:ext cx="548604" cy="39354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B539524-7D18-45B2-90EE-B40013FD5D55}"/>
              </a:ext>
            </a:extLst>
          </p:cNvPr>
          <p:cNvSpPr/>
          <p:nvPr/>
        </p:nvSpPr>
        <p:spPr>
          <a:xfrm>
            <a:off x="-860285" y="6524705"/>
            <a:ext cx="548604" cy="39354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B6C370DE-8B4A-45E5-A411-E5D979CE6A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9" y="3078723"/>
            <a:ext cx="11591924" cy="58370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oject Name</a:t>
            </a:r>
            <a:endParaRPr lang="en-GB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0DCCE008-14FB-4590-9979-34E47E3AE9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6" y="3662426"/>
            <a:ext cx="11591925" cy="8912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MY"/>
              <a:t>Subtitle</a:t>
            </a:r>
            <a:endParaRPr lang="en-GB"/>
          </a:p>
          <a:p>
            <a:pPr lvl="0"/>
            <a:r>
              <a:rPr lang="en-GB"/>
              <a:t>Team</a:t>
            </a:r>
          </a:p>
          <a:p>
            <a:pPr lvl="0"/>
            <a:r>
              <a:rPr lang="en-GB"/>
              <a:t>Date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52431687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BKG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D06DAA-E62E-F04F-B417-BE137AFC83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6F8645E-AB0B-B94F-8ADB-1C147FE443D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7D9AC26C-BADC-0D4E-A63F-DC50E3D5BC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6796"/>
            <a:ext cx="1675688" cy="720000"/>
          </a:xfrm>
          <a:prstGeom prst="rect">
            <a:avLst/>
          </a:prstGeom>
        </p:spPr>
      </p:pic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3919A582-E1D9-4522-AEBB-7FBBDA05495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0038" y="3662426"/>
            <a:ext cx="11591923" cy="365125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B6F041B8-6465-4329-8DF2-4236AFED9C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9" y="3078723"/>
            <a:ext cx="11591924" cy="58370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Section Nam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54756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SC Strategy Content">
  <p:cSld name="1_LSC Strategy Content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8"/>
          <p:cNvSpPr txBox="1">
            <a:spLocks noGrp="1"/>
          </p:cNvSpPr>
          <p:nvPr>
            <p:ph type="sldNum" idx="12"/>
          </p:nvPr>
        </p:nvSpPr>
        <p:spPr>
          <a:xfrm>
            <a:off x="10259917" y="6328659"/>
            <a:ext cx="1632045" cy="267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  <p:sp>
        <p:nvSpPr>
          <p:cNvPr id="28" name="Google Shape;28;p38"/>
          <p:cNvSpPr txBox="1">
            <a:spLocks noGrp="1"/>
          </p:cNvSpPr>
          <p:nvPr>
            <p:ph type="body" idx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Google Shape;29;p38"/>
          <p:cNvSpPr txBox="1">
            <a:spLocks noGrp="1"/>
          </p:cNvSpPr>
          <p:nvPr>
            <p:ph type="title"/>
          </p:nvPr>
        </p:nvSpPr>
        <p:spPr>
          <a:xfrm>
            <a:off x="300035" y="369888"/>
            <a:ext cx="1159192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Times New Roman"/>
              <a:buNone/>
              <a:defRPr sz="2500" b="1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0" name="Google Shape;30;p38"/>
          <p:cNvSpPr txBox="1">
            <a:spLocks noGrp="1"/>
          </p:cNvSpPr>
          <p:nvPr>
            <p:ph type="body" idx="2"/>
          </p:nvPr>
        </p:nvSpPr>
        <p:spPr>
          <a:xfrm>
            <a:off x="300034" y="732144"/>
            <a:ext cx="11591926" cy="317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048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Google Shape;31;p38"/>
          <p:cNvSpPr txBox="1">
            <a:spLocks noGrp="1"/>
          </p:cNvSpPr>
          <p:nvPr>
            <p:ph type="body" idx="3"/>
          </p:nvPr>
        </p:nvSpPr>
        <p:spPr>
          <a:xfrm>
            <a:off x="1273173" y="6329363"/>
            <a:ext cx="8986743" cy="2671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21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21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21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21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588437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BKG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82FEE90-DE14-3948-AB5E-C8D46B3A6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259917" y="6328659"/>
            <a:ext cx="1632045" cy="267852"/>
          </a:xfrm>
        </p:spPr>
        <p:txBody>
          <a:bodyPr/>
          <a:lstStyle/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ontent Placeholder 12">
            <a:extLst>
              <a:ext uri="{FF2B5EF4-FFF2-40B4-BE49-F238E27FC236}">
                <a16:creationId xmlns:a16="http://schemas.microsoft.com/office/drawing/2014/main" id="{B9214DF6-20E1-A048-B2D2-4BB35DD49ED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369574" y="6328659"/>
            <a:ext cx="7890344" cy="267852"/>
          </a:xfrm>
          <a:prstGeom prst="rect">
            <a:avLst/>
          </a:prstGeom>
        </p:spPr>
        <p:txBody>
          <a:bodyPr anchor="b"/>
          <a:lstStyle>
            <a:lvl1pPr marL="9525" indent="-9525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ource: LSC BKG analysis</a:t>
            </a:r>
          </a:p>
        </p:txBody>
      </p:sp>
      <p:sp>
        <p:nvSpPr>
          <p:cNvPr id="9" name="Content Placeholder 15">
            <a:extLst>
              <a:ext uri="{FF2B5EF4-FFF2-40B4-BE49-F238E27FC236}">
                <a16:creationId xmlns:a16="http://schemas.microsoft.com/office/drawing/2014/main" id="{CCC0CEBA-5127-904B-B20A-818B20FB55D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11" name="Content Placeholder 17">
            <a:extLst>
              <a:ext uri="{FF2B5EF4-FFF2-40B4-BE49-F238E27FC236}">
                <a16:creationId xmlns:a16="http://schemas.microsoft.com/office/drawing/2014/main" id="{B59EC706-E6D2-D247-B437-C3940D438FF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0037" y="369888"/>
            <a:ext cx="11591925" cy="365125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Titles to be one line, never more than 2</a:t>
            </a:r>
          </a:p>
        </p:txBody>
      </p:sp>
      <p:sp>
        <p:nvSpPr>
          <p:cNvPr id="12" name="Content Placeholder 17">
            <a:extLst>
              <a:ext uri="{FF2B5EF4-FFF2-40B4-BE49-F238E27FC236}">
                <a16:creationId xmlns:a16="http://schemas.microsoft.com/office/drawing/2014/main" id="{2F20458E-BABE-2442-8301-384AE170E62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7" y="735014"/>
            <a:ext cx="11591925" cy="317500"/>
          </a:xfrm>
          <a:prstGeom prst="rect">
            <a:avLst/>
          </a:prstGeom>
        </p:spPr>
        <p:txBody>
          <a:bodyPr anchor="t"/>
          <a:lstStyle>
            <a:lvl1pPr marL="9525" indent="-9525"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</p:spTree>
    <p:extLst>
      <p:ext uri="{BB962C8B-B14F-4D97-AF65-F5344CB8AC3E}">
        <p14:creationId xmlns:p14="http://schemas.microsoft.com/office/powerpoint/2010/main" val="272578508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BKG Content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02CA069-43D9-9946-8021-311932FF4B26}"/>
              </a:ext>
            </a:extLst>
          </p:cNvPr>
          <p:cNvSpPr/>
          <p:nvPr/>
        </p:nvSpPr>
        <p:spPr>
          <a:xfrm>
            <a:off x="8124440" y="0"/>
            <a:ext cx="4064399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BC3E37-75CB-1E48-B220-BE35CE4E8A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DB62871F-E9FC-A249-A3A7-F807B63C408D}" type="slidenum">
              <a:rPr lang="en-US" smtClean="0"/>
              <a:pPr/>
              <a:t>‹#›</a:t>
            </a:fld>
            <a:endParaRPr lang="en-US" sz="1000"/>
          </a:p>
        </p:txBody>
      </p:sp>
      <p:sp>
        <p:nvSpPr>
          <p:cNvPr id="11" name="Content Placeholder 12">
            <a:extLst>
              <a:ext uri="{FF2B5EF4-FFF2-40B4-BE49-F238E27FC236}">
                <a16:creationId xmlns:a16="http://schemas.microsoft.com/office/drawing/2014/main" id="{F3752B82-B344-1847-97B9-030883520C6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369574" y="6328659"/>
            <a:ext cx="5754866" cy="267852"/>
          </a:xfrm>
          <a:prstGeom prst="rect">
            <a:avLst/>
          </a:prstGeom>
        </p:spPr>
        <p:txBody>
          <a:bodyPr anchor="b"/>
          <a:lstStyle>
            <a:lvl1pPr marL="9525" indent="-9525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ource: LSC BKG analysis</a:t>
            </a:r>
          </a:p>
        </p:txBody>
      </p:sp>
      <p:sp>
        <p:nvSpPr>
          <p:cNvPr id="12" name="Content Placeholder 15">
            <a:extLst>
              <a:ext uri="{FF2B5EF4-FFF2-40B4-BE49-F238E27FC236}">
                <a16:creationId xmlns:a16="http://schemas.microsoft.com/office/drawing/2014/main" id="{4CD0C9FD-2109-B541-A860-A990DB93D11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13" name="Content Placeholder 17">
            <a:extLst>
              <a:ext uri="{FF2B5EF4-FFF2-40B4-BE49-F238E27FC236}">
                <a16:creationId xmlns:a16="http://schemas.microsoft.com/office/drawing/2014/main" id="{FC085482-99F1-3647-9E55-242CCBBCE61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0037" y="369888"/>
            <a:ext cx="7824403" cy="365125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Titles to be one line, never more than 2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694C7A40-9847-2142-A876-FA7C2FD218C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7" y="735014"/>
            <a:ext cx="7824403" cy="317500"/>
          </a:xfrm>
          <a:prstGeom prst="rect">
            <a:avLst/>
          </a:prstGeom>
        </p:spPr>
        <p:txBody>
          <a:bodyPr anchor="t"/>
          <a:lstStyle>
            <a:lvl1pPr marL="9525" indent="-9525"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</p:spTree>
    <p:extLst>
      <p:ext uri="{BB962C8B-B14F-4D97-AF65-F5344CB8AC3E}">
        <p14:creationId xmlns:p14="http://schemas.microsoft.com/office/powerpoint/2010/main" val="167000268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BKG Content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29CC70A-4983-A745-A85A-89B42374772D}"/>
              </a:ext>
            </a:extLst>
          </p:cNvPr>
          <p:cNvSpPr/>
          <p:nvPr/>
        </p:nvSpPr>
        <p:spPr>
          <a:xfrm>
            <a:off x="6095259" y="-1"/>
            <a:ext cx="6094800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F24B5E-4177-5A49-B4CD-54C6099704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DB62871F-E9FC-A249-A3A7-F807B63C408D}" type="slidenum">
              <a:rPr lang="en-US" smtClean="0"/>
              <a:pPr/>
              <a:t>‹#›</a:t>
            </a:fld>
            <a:endParaRPr lang="en-US" sz="1000"/>
          </a:p>
        </p:txBody>
      </p:sp>
      <p:sp>
        <p:nvSpPr>
          <p:cNvPr id="11" name="Content Placeholder 12">
            <a:extLst>
              <a:ext uri="{FF2B5EF4-FFF2-40B4-BE49-F238E27FC236}">
                <a16:creationId xmlns:a16="http://schemas.microsoft.com/office/drawing/2014/main" id="{1092A50B-6379-664B-ABE1-A57FE88AABF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369574" y="6328659"/>
            <a:ext cx="3725685" cy="267852"/>
          </a:xfrm>
          <a:prstGeom prst="rect">
            <a:avLst/>
          </a:prstGeom>
        </p:spPr>
        <p:txBody>
          <a:bodyPr anchor="b"/>
          <a:lstStyle>
            <a:lvl1pPr marL="9525" indent="-9525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ource: LSC BKG analysis</a:t>
            </a:r>
          </a:p>
        </p:txBody>
      </p:sp>
      <p:sp>
        <p:nvSpPr>
          <p:cNvPr id="12" name="Content Placeholder 15">
            <a:extLst>
              <a:ext uri="{FF2B5EF4-FFF2-40B4-BE49-F238E27FC236}">
                <a16:creationId xmlns:a16="http://schemas.microsoft.com/office/drawing/2014/main" id="{7AF2D1A2-58FC-4A4B-9B67-EA95517BFE9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13" name="Content Placeholder 17">
            <a:extLst>
              <a:ext uri="{FF2B5EF4-FFF2-40B4-BE49-F238E27FC236}">
                <a16:creationId xmlns:a16="http://schemas.microsoft.com/office/drawing/2014/main" id="{97C0AB2F-009C-AF4E-BABC-21F437D9EC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0038" y="369888"/>
            <a:ext cx="5795222" cy="365125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Titles to be one line, never more than 2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C8FF38A9-F7B9-CA42-83AA-CA98190917D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8" y="735014"/>
            <a:ext cx="5795222" cy="317500"/>
          </a:xfrm>
          <a:prstGeom prst="rect">
            <a:avLst/>
          </a:prstGeom>
        </p:spPr>
        <p:txBody>
          <a:bodyPr anchor="t"/>
          <a:lstStyle>
            <a:lvl1pPr marL="9525" indent="-9525"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</p:spTree>
    <p:extLst>
      <p:ext uri="{BB962C8B-B14F-4D97-AF65-F5344CB8AC3E}">
        <p14:creationId xmlns:p14="http://schemas.microsoft.com/office/powerpoint/2010/main" val="23612584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SC BKG Back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58E603-8758-B94A-AAF0-147E1A0686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DB62871F-E9FC-A249-A3A7-F807B63C408D}" type="slidenum">
              <a:rPr lang="en-US" smtClean="0"/>
              <a:pPr/>
              <a:t>‹#›</a:t>
            </a:fld>
            <a:endParaRPr lang="en-US" sz="10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FE15917-A40D-48F2-B6E6-1899986F29EC}"/>
              </a:ext>
            </a:extLst>
          </p:cNvPr>
          <p:cNvSpPr/>
          <p:nvPr/>
        </p:nvSpPr>
        <p:spPr>
          <a:xfrm>
            <a:off x="-860285" y="5937835"/>
            <a:ext cx="548604" cy="39354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321112-99D1-4F62-9926-1780122B2028}"/>
              </a:ext>
            </a:extLst>
          </p:cNvPr>
          <p:cNvSpPr/>
          <p:nvPr/>
        </p:nvSpPr>
        <p:spPr>
          <a:xfrm>
            <a:off x="-858562" y="4177225"/>
            <a:ext cx="548604" cy="3935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FFF2D54-8B96-4446-B81D-F5A0ABB95A82}"/>
              </a:ext>
            </a:extLst>
          </p:cNvPr>
          <p:cNvSpPr/>
          <p:nvPr/>
        </p:nvSpPr>
        <p:spPr>
          <a:xfrm>
            <a:off x="-860285" y="4764095"/>
            <a:ext cx="548604" cy="3935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1EDCBF-C75A-4411-AF92-2AC126D5E2B5}"/>
              </a:ext>
            </a:extLst>
          </p:cNvPr>
          <p:cNvSpPr/>
          <p:nvPr/>
        </p:nvSpPr>
        <p:spPr>
          <a:xfrm>
            <a:off x="-860285" y="5350965"/>
            <a:ext cx="548604" cy="39354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1067316-3D9D-4E6B-9F92-0E1CF2F6E0F5}"/>
              </a:ext>
            </a:extLst>
          </p:cNvPr>
          <p:cNvSpPr/>
          <p:nvPr/>
        </p:nvSpPr>
        <p:spPr>
          <a:xfrm>
            <a:off x="-860285" y="6524705"/>
            <a:ext cx="548604" cy="39354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B635054D-7D0C-264F-8935-DC93F8DF82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6796"/>
            <a:ext cx="1675688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06135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CD70841-5ACD-594B-97DB-9B32B7BD309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33109562-61E2-C442-B61F-C20C81DE23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5918"/>
            <a:ext cx="720000" cy="720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E1F3246-4A29-FC47-A4D1-E98CAE336406}"/>
              </a:ext>
            </a:extLst>
          </p:cNvPr>
          <p:cNvSpPr txBox="1">
            <a:spLocks/>
          </p:cNvSpPr>
          <p:nvPr/>
        </p:nvSpPr>
        <p:spPr>
          <a:xfrm>
            <a:off x="408320" y="5809178"/>
            <a:ext cx="11970151" cy="772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AND PROPRIETARY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70A638-D031-44D8-8D0C-2987A663B6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9" y="3078723"/>
            <a:ext cx="11591924" cy="58370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Project Nam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17B940C-848A-448F-98A8-8FEAB59FA4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6" y="3662426"/>
            <a:ext cx="11591925" cy="8912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MY"/>
              <a:t>Subtitle</a:t>
            </a:r>
            <a:endParaRPr lang="en-GB"/>
          </a:p>
          <a:p>
            <a:pPr lvl="0"/>
            <a:r>
              <a:rPr lang="en-GB"/>
              <a:t>Team</a:t>
            </a:r>
          </a:p>
          <a:p>
            <a:pPr lvl="0"/>
            <a:r>
              <a:rPr lang="en-GB"/>
              <a:t>Date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48746354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D06DAA-E62E-F04F-B417-BE137AFC83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6F8645E-AB0B-B94F-8ADB-1C147FE443D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5F7D932A-8F34-4A42-8496-EC71FEA806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5918"/>
            <a:ext cx="720000" cy="720000"/>
          </a:xfrm>
          <a:prstGeom prst="rect">
            <a:avLst/>
          </a:prstGeom>
        </p:spPr>
      </p:pic>
      <p:sp>
        <p:nvSpPr>
          <p:cNvPr id="11" name="Content Placeholder 14">
            <a:extLst>
              <a:ext uri="{FF2B5EF4-FFF2-40B4-BE49-F238E27FC236}">
                <a16:creationId xmlns:a16="http://schemas.microsoft.com/office/drawing/2014/main" id="{7DB22074-FB73-43CF-9AE2-A7BFFD5302C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00038" y="3662426"/>
            <a:ext cx="11591923" cy="365125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tabLst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algn="l">
              <a:defRPr sz="4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AD349EE-4849-41AA-B56A-0C8E04EF68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9" y="3078723"/>
            <a:ext cx="11591924" cy="58370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Section Nam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536493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42C2CBB-AEF7-CB4F-9131-F7D5E24BA88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72745" y="6328659"/>
            <a:ext cx="8987173" cy="267852"/>
          </a:xfrm>
          <a:prstGeom prst="rect">
            <a:avLst/>
          </a:prstGeom>
        </p:spPr>
        <p:txBody>
          <a:bodyPr anchor="b"/>
          <a:lstStyle>
            <a:lvl1pPr marL="9525" indent="-9525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ource: LSC analysis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82FEE90-DE14-3948-AB5E-C8D46B3A6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259917" y="6328659"/>
            <a:ext cx="1632045" cy="267852"/>
          </a:xfrm>
        </p:spPr>
        <p:txBody>
          <a:bodyPr/>
          <a:lstStyle/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2E9860A2-5F09-9C41-8514-75AC2FC5E28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3DA3786F-2F35-C047-88FC-BFB6852B09F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0037" y="369888"/>
            <a:ext cx="11591925" cy="365125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Titles to be one line, never more than 2</a:t>
            </a:r>
          </a:p>
        </p:txBody>
      </p:sp>
      <p:sp>
        <p:nvSpPr>
          <p:cNvPr id="19" name="Content Placeholder 17">
            <a:extLst>
              <a:ext uri="{FF2B5EF4-FFF2-40B4-BE49-F238E27FC236}">
                <a16:creationId xmlns:a16="http://schemas.microsoft.com/office/drawing/2014/main" id="{B7EC81A2-7878-BC43-B17E-67F3349B177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7" y="735014"/>
            <a:ext cx="11591925" cy="317500"/>
          </a:xfrm>
          <a:prstGeom prst="rect">
            <a:avLst/>
          </a:prstGeom>
        </p:spPr>
        <p:txBody>
          <a:bodyPr anchor="t"/>
          <a:lstStyle>
            <a:lvl1pPr marL="9525" indent="-9525"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</p:spTree>
    <p:extLst>
      <p:ext uri="{BB962C8B-B14F-4D97-AF65-F5344CB8AC3E}">
        <p14:creationId xmlns:p14="http://schemas.microsoft.com/office/powerpoint/2010/main" val="148449047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Content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02CA069-43D9-9946-8021-311932FF4B26}"/>
              </a:ext>
            </a:extLst>
          </p:cNvPr>
          <p:cNvSpPr/>
          <p:nvPr/>
        </p:nvSpPr>
        <p:spPr>
          <a:xfrm>
            <a:off x="8124440" y="0"/>
            <a:ext cx="4064399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BC3E37-75CB-1E48-B220-BE35CE4E8A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DB62871F-E9FC-A249-A3A7-F807B63C408D}" type="slidenum">
              <a:rPr lang="en-US" smtClean="0"/>
              <a:pPr/>
              <a:t>‹#›</a:t>
            </a:fld>
            <a:endParaRPr lang="en-US" sz="1000"/>
          </a:p>
        </p:txBody>
      </p:sp>
      <p:sp>
        <p:nvSpPr>
          <p:cNvPr id="6" name="Content Placeholder 15">
            <a:extLst>
              <a:ext uri="{FF2B5EF4-FFF2-40B4-BE49-F238E27FC236}">
                <a16:creationId xmlns:a16="http://schemas.microsoft.com/office/drawing/2014/main" id="{24F0D4AF-7E74-9E49-8898-F1E4D54C318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/>
          <a:lstStyle>
            <a:lvl1pPr marL="12700" indent="-12700"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7" name="Content Placeholder 17">
            <a:extLst>
              <a:ext uri="{FF2B5EF4-FFF2-40B4-BE49-F238E27FC236}">
                <a16:creationId xmlns:a16="http://schemas.microsoft.com/office/drawing/2014/main" id="{3DB15CAC-B8E1-F64A-BE09-755208894FC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0037" y="369888"/>
            <a:ext cx="7824403" cy="365125"/>
          </a:xfrm>
          <a:prstGeom prst="rect">
            <a:avLst/>
          </a:prstGeom>
        </p:spPr>
        <p:txBody>
          <a:bodyPr/>
          <a:lstStyle>
            <a:lvl1pPr marL="12700" indent="-12700">
              <a:spcBef>
                <a:spcPts val="0"/>
              </a:spcBef>
              <a:buNone/>
              <a:tabLst/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Titles to be one line, never more than 2</a:t>
            </a:r>
          </a:p>
        </p:txBody>
      </p:sp>
      <p:sp>
        <p:nvSpPr>
          <p:cNvPr id="8" name="Content Placeholder 17">
            <a:extLst>
              <a:ext uri="{FF2B5EF4-FFF2-40B4-BE49-F238E27FC236}">
                <a16:creationId xmlns:a16="http://schemas.microsoft.com/office/drawing/2014/main" id="{AAEC9897-1D19-5547-AF73-24AAB916293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7" y="735014"/>
            <a:ext cx="7824403" cy="317500"/>
          </a:xfrm>
          <a:prstGeom prst="rect">
            <a:avLst/>
          </a:prstGeom>
        </p:spPr>
        <p:txBody>
          <a:bodyPr anchor="t"/>
          <a:lstStyle>
            <a:lvl1pPr marL="12700" indent="-12700"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55A04608-DDFF-2541-9FA5-1F8FC16B7B5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72745" y="6328659"/>
            <a:ext cx="6851695" cy="267852"/>
          </a:xfrm>
          <a:prstGeom prst="rect">
            <a:avLst/>
          </a:prstGeom>
        </p:spPr>
        <p:txBody>
          <a:bodyPr anchor="b"/>
          <a:lstStyle>
            <a:lvl1pPr marL="9525" indent="-9525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ource: LSC analysis</a:t>
            </a:r>
          </a:p>
        </p:txBody>
      </p:sp>
    </p:spTree>
    <p:extLst>
      <p:ext uri="{BB962C8B-B14F-4D97-AF65-F5344CB8AC3E}">
        <p14:creationId xmlns:p14="http://schemas.microsoft.com/office/powerpoint/2010/main" val="96351989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Content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29CC70A-4983-A745-A85A-89B42374772D}"/>
              </a:ext>
            </a:extLst>
          </p:cNvPr>
          <p:cNvSpPr/>
          <p:nvPr/>
        </p:nvSpPr>
        <p:spPr>
          <a:xfrm>
            <a:off x="6095259" y="-1"/>
            <a:ext cx="6094800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F24B5E-4177-5A49-B4CD-54C6099704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DB62871F-E9FC-A249-A3A7-F807B63C408D}" type="slidenum">
              <a:rPr lang="en-US" smtClean="0"/>
              <a:pPr/>
              <a:t>‹#›</a:t>
            </a:fld>
            <a:endParaRPr lang="en-US" sz="1000"/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BCBA6188-BC27-194D-A2EE-24FDAF9A56B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72746" y="6328659"/>
            <a:ext cx="4822512" cy="267852"/>
          </a:xfrm>
          <a:prstGeom prst="rect">
            <a:avLst/>
          </a:prstGeom>
        </p:spPr>
        <p:txBody>
          <a:bodyPr anchor="b"/>
          <a:lstStyle>
            <a:lvl1pPr marL="9525" indent="-9525">
              <a:lnSpc>
                <a:spcPct val="100000"/>
              </a:lnSpc>
              <a:spcBef>
                <a:spcPts val="0"/>
              </a:spcBef>
              <a:buNone/>
              <a:tabLst/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ource: LSC analysis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44770496-0501-FC48-9547-7A59634DAF1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11" name="Content Placeholder 17">
            <a:extLst>
              <a:ext uri="{FF2B5EF4-FFF2-40B4-BE49-F238E27FC236}">
                <a16:creationId xmlns:a16="http://schemas.microsoft.com/office/drawing/2014/main" id="{AE3EBB54-773C-E846-8D56-45247B11663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0038" y="369888"/>
            <a:ext cx="5795222" cy="365125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Titles to be one line, never more than 2</a:t>
            </a:r>
          </a:p>
        </p:txBody>
      </p:sp>
      <p:sp>
        <p:nvSpPr>
          <p:cNvPr id="12" name="Content Placeholder 17">
            <a:extLst>
              <a:ext uri="{FF2B5EF4-FFF2-40B4-BE49-F238E27FC236}">
                <a16:creationId xmlns:a16="http://schemas.microsoft.com/office/drawing/2014/main" id="{1C4CD2D4-99F4-5C4D-B539-0E411237B20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00038" y="735014"/>
            <a:ext cx="5795222" cy="317500"/>
          </a:xfrm>
          <a:prstGeom prst="rect">
            <a:avLst/>
          </a:prstGeom>
        </p:spPr>
        <p:txBody>
          <a:bodyPr anchor="t"/>
          <a:lstStyle>
            <a:lvl1pPr marL="9525" indent="-9525">
              <a:spcBef>
                <a:spcPts val="0"/>
              </a:spcBef>
              <a:buNone/>
              <a:tabLst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s could be used to add context</a:t>
            </a:r>
          </a:p>
        </p:txBody>
      </p:sp>
    </p:spTree>
    <p:extLst>
      <p:ext uri="{BB962C8B-B14F-4D97-AF65-F5344CB8AC3E}">
        <p14:creationId xmlns:p14="http://schemas.microsoft.com/office/powerpoint/2010/main" val="415668211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SC Strategy Back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2CAF7EE-95ED-B844-8592-68524745A7A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D051582C-5279-BD46-AC11-5061D6B14A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9" y="5315918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485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7C8D6A01-45B1-4D83-8534-333183F2C6A1}" type="datetimeFigureOut">
              <a:rPr lang="en-GB" smtClean="0"/>
              <a:t>02/01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482293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SC Strategy Content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29CC70A-4983-A745-A85A-89B42374772D}"/>
              </a:ext>
            </a:extLst>
          </p:cNvPr>
          <p:cNvSpPr/>
          <p:nvPr/>
        </p:nvSpPr>
        <p:spPr>
          <a:xfrm>
            <a:off x="6095259" y="-1"/>
            <a:ext cx="6094800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F24B5E-4177-5A49-B4CD-54C6099704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51623" y="6231386"/>
            <a:ext cx="506587" cy="365125"/>
          </a:xfrm>
          <a:prstGeom prst="rect">
            <a:avLst/>
          </a:prstGeom>
        </p:spPr>
        <p:txBody>
          <a:bodyPr/>
          <a:lstStyle/>
          <a:p>
            <a:fld id="{DB62871F-E9FC-A249-A3A7-F807B63C408D}" type="slidenum">
              <a:rPr lang="en-US" smtClean="0"/>
              <a:pPr/>
              <a:t>‹#›</a:t>
            </a:fld>
            <a:endParaRPr lang="en-US" sz="100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44770496-0501-FC48-9547-7A59634DAF1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00038" y="188913"/>
            <a:ext cx="2564195" cy="181477"/>
          </a:xfrm>
          <a:prstGeom prst="rect">
            <a:avLst/>
          </a:prstGeom>
        </p:spPr>
        <p:txBody>
          <a:bodyPr/>
          <a:lstStyle>
            <a:lvl1pPr marL="9525" indent="-9525">
              <a:spcBef>
                <a:spcPts val="0"/>
              </a:spcBef>
              <a:buNone/>
              <a:tabLst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opic | Subtopic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A5A4A19-CEC1-4999-ADE1-B8C5542CD6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6" y="369888"/>
            <a:ext cx="5795224" cy="365125"/>
          </a:xfrm>
          <a:prstGeom prst="rect">
            <a:avLst/>
          </a:prstGeom>
        </p:spPr>
        <p:txBody>
          <a:bodyPr/>
          <a:lstStyle>
            <a:lvl1pPr>
              <a:defRPr sz="25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Titles to be one line, never more than 2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9832F16-0793-4F50-9ADB-0251F1CC9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0034" y="732144"/>
            <a:ext cx="5795224" cy="3174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MY"/>
              <a:t>Subtitles could be used to add context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2478599-7F73-4D53-8778-90271D4C7F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73174" y="6329363"/>
            <a:ext cx="4822086" cy="26714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Source: </a:t>
            </a:r>
            <a:r>
              <a:rPr lang="en-US" err="1"/>
              <a:t>LSC</a:t>
            </a:r>
            <a:r>
              <a:rPr lang="en-US"/>
              <a:t> analysi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064151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8271A6-5356-5046-49BE-2B9D853077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FDE23A-3E0B-7D21-A051-44AA87A7DE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15CEF8-3B82-B70C-1650-745585D4D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D6A01-45B1-4D83-8534-333183F2C6A1}" type="datetimeFigureOut">
              <a:rPr lang="en-GB" smtClean="0"/>
              <a:t>02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DA40B5-DEFA-CEF6-DFF6-BA4784657F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03896C-30FC-B21A-5F99-A637EE3490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065872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DF90D8-94A2-9279-63C8-688FAFCC6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639610-B50B-F405-6ED0-0FDF3157C4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EB3D62-5633-ED92-6788-C7D0155D3E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D6A01-45B1-4D83-8534-333183F2C6A1}" type="datetimeFigureOut">
              <a:rPr lang="en-GB" smtClean="0"/>
              <a:t>02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3FD01B-9198-6444-CF65-D37BD58050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6FFD38-CDE7-F03D-35D4-D5D4103C7F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723424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1DBF0B-BE1C-0620-6A36-26E64DA6AC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D7A0F1-60C2-BE30-05AD-2FCBA30156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3ED72A-72D0-38FC-3DD8-0815AA9135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A129D-284C-4760-A613-F424F889990C}" type="datetimeFigureOut">
              <a:rPr lang="en-GB" smtClean="0"/>
              <a:t>02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CE74BD-EC96-A60A-C2BD-8674D8BADE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3A5434-1C32-7FEF-FBB1-EE501C59E2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758260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11066A-0F1F-6382-0051-0CFB6785E8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0D4CA0-07F7-3AE9-04B7-9366647FC40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4E4B241-4C30-1B89-80B2-188F5D7C4A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5598208-A45E-4502-C97C-5E7D4A0893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A129D-284C-4760-A613-F424F889990C}" type="datetimeFigureOut">
              <a:rPr lang="en-GB" smtClean="0"/>
              <a:t>02/0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B98798-D7E9-CDE4-3513-512F6D50B8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D0A81C-655A-2EE8-F344-84C6F749D3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420311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E8DDE8-2304-6BED-5489-904ECF617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DFDA5C-0CD0-60C0-2D10-569459A14A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38051D-6970-930F-CAE2-0F5E4C840A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E784D8-08BA-DE45-8E2C-621127F322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3C96432-A8FB-8C75-08EE-FD01D344A6E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E9B1743-FA15-885A-0E3F-04D84FC28F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A129D-284C-4760-A613-F424F889990C}" type="datetimeFigureOut">
              <a:rPr lang="en-GB" smtClean="0"/>
              <a:t>02/01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3968EDE-FEB8-30E7-C211-FCF931F5E7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B8E149-B7A3-4F37-2E39-EF98DF153F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604734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BDBA0B-2569-81D1-EC93-B143F3054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6A4FD44-3994-7B9B-F7B0-A5E1372649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A129D-284C-4760-A613-F424F889990C}" type="datetimeFigureOut">
              <a:rPr lang="en-GB" smtClean="0"/>
              <a:t>02/01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FDD763-65F9-3F5D-EF5D-5BEB25CA34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54D690-DB89-5F85-337E-643F0DB10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810648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B8AAA5C-83AD-055F-FECE-6935AB1563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A129D-284C-4760-A613-F424F889990C}" type="datetimeFigureOut">
              <a:rPr lang="en-GB" smtClean="0"/>
              <a:t>02/01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8A374BA-59F8-2878-8AF6-0F97B553B9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BAEADF-0B36-952C-9963-EC7F727D39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5378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702DDF-A0B8-BA33-5C9B-95E010474E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8C4146-5E93-84FF-852E-6AD545D7C0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DDB6FE-CDA6-242D-F57C-2F738AF782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96C807-0345-C76A-FCCB-726851F2E3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A129D-284C-4760-A613-F424F889990C}" type="datetimeFigureOut">
              <a:rPr lang="en-GB" smtClean="0"/>
              <a:t>02/0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F24CAF-0B2D-3228-A42E-522C8A52C0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46E014-975E-2371-EA79-A1F410D72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86218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1A3766-C1AB-E611-B729-083F54AE14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3E33832-E65B-800B-1A54-F1D1999694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70500A-00DB-A856-D27B-A3D4AA5F22B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20E3C6-1CE9-5D3A-44E2-8416E06A64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A129D-284C-4760-A613-F424F889990C}" type="datetimeFigureOut">
              <a:rPr lang="en-GB" smtClean="0"/>
              <a:t>02/0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3227DB-51C9-DC68-DCD6-B481405BD2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DAEFB7-C1D5-FE97-B015-214007D09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97289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D6A01-45B1-4D83-8534-333183F2C6A1}" type="datetimeFigureOut">
              <a:rPr lang="en-GB" smtClean="0"/>
              <a:t>02/01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97493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C97546-F9ED-629E-7D9B-CAE339774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278240B-C1D7-35A5-8462-B873C2B27B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0F2471-23DF-7EF1-A845-3AC87D298D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A129D-284C-4760-A613-F424F889990C}" type="datetimeFigureOut">
              <a:rPr lang="en-GB" smtClean="0"/>
              <a:t>02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BEBB92-45E8-9655-C552-BD30A5F64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59668C-4828-D4FD-5645-8DBFB2444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760069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41EDEA7-2E43-70B8-97ED-73C6A89D7EF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881ADF3-6EA5-2B66-20D2-3C7D7F5CB5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18F2D8-8A12-BDEE-8DCF-387E7BDAC8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A129D-284C-4760-A613-F424F889990C}" type="datetimeFigureOut">
              <a:rPr lang="en-GB" smtClean="0"/>
              <a:t>02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28A9F3-E1A9-7A4E-0F7E-E84B4CF7E4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69FEDB-8B67-390B-234E-8057C1CABC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03428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image" Target="../media/image9.emf"/><Relationship Id="rId5" Type="http://schemas.openxmlformats.org/officeDocument/2006/relationships/slideLayout" Target="../slideLayouts/slideLayout78.xml"/><Relationship Id="rId10" Type="http://schemas.openxmlformats.org/officeDocument/2006/relationships/oleObject" Target="../embeddings/oleObject10.bin"/><Relationship Id="rId4" Type="http://schemas.openxmlformats.org/officeDocument/2006/relationships/slideLayout" Target="../slideLayouts/slideLayout77.xml"/><Relationship Id="rId9" Type="http://schemas.openxmlformats.org/officeDocument/2006/relationships/tags" Target="../tags/tag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3.emf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2.pn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2.pn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Relationship Id="rId14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image" Target="../media/image7.emf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31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30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9.emf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39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48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image" Target="../media/image3.emf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tags" Target="../tags/tag7.xml"/><Relationship Id="rId5" Type="http://schemas.openxmlformats.org/officeDocument/2006/relationships/slideLayout" Target="../slideLayouts/slideLayout57.xml"/><Relationship Id="rId15" Type="http://schemas.openxmlformats.org/officeDocument/2006/relationships/image" Target="../media/image2.png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image" Target="../media/image4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64.xml"/><Relationship Id="rId7" Type="http://schemas.openxmlformats.org/officeDocument/2006/relationships/theme" Target="../theme/theme8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65.xml"/><Relationship Id="rId9" Type="http://schemas.openxmlformats.org/officeDocument/2006/relationships/oleObject" Target="../embeddings/oleObject8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slideLayout" Target="../slideLayouts/slideLayout70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72.xml"/><Relationship Id="rId10" Type="http://schemas.openxmlformats.org/officeDocument/2006/relationships/image" Target="../media/image7.emf"/><Relationship Id="rId4" Type="http://schemas.openxmlformats.org/officeDocument/2006/relationships/slideLayout" Target="../slideLayouts/slideLayout71.xml"/><Relationship Id="rId9" Type="http://schemas.openxmlformats.org/officeDocument/2006/relationships/oleObject" Target="../embeddings/oleObject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031C5DA-0891-5741-8E35-20E850E58605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952222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031C5DA-0891-5741-8E35-20E850E586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416731BD-A7D6-C947-BEE6-054F4E7BEE14}"/>
              </a:ext>
            </a:extLst>
          </p:cNvPr>
          <p:cNvSpPr/>
          <p:nvPr/>
        </p:nvSpPr>
        <p:spPr>
          <a:xfrm>
            <a:off x="-724358" y="4738623"/>
            <a:ext cx="548604" cy="393540"/>
          </a:xfrm>
          <a:prstGeom prst="rect">
            <a:avLst/>
          </a:prstGeom>
          <a:solidFill>
            <a:srgbClr val="E3F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D3B2796-CEE5-0D4C-A84F-12008222E20C}"/>
              </a:ext>
            </a:extLst>
          </p:cNvPr>
          <p:cNvSpPr/>
          <p:nvPr/>
        </p:nvSpPr>
        <p:spPr>
          <a:xfrm>
            <a:off x="-724358" y="3012786"/>
            <a:ext cx="548604" cy="3935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CE6CED6-55FE-2048-A7A1-7BA59457E2A0}"/>
              </a:ext>
            </a:extLst>
          </p:cNvPr>
          <p:cNvSpPr/>
          <p:nvPr/>
        </p:nvSpPr>
        <p:spPr>
          <a:xfrm>
            <a:off x="-724358" y="3588065"/>
            <a:ext cx="548604" cy="393540"/>
          </a:xfrm>
          <a:prstGeom prst="rect">
            <a:avLst/>
          </a:prstGeom>
          <a:solidFill>
            <a:srgbClr val="B712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571D9F-2B81-EC44-8354-8967106597ED}"/>
              </a:ext>
            </a:extLst>
          </p:cNvPr>
          <p:cNvSpPr/>
          <p:nvPr/>
        </p:nvSpPr>
        <p:spPr>
          <a:xfrm>
            <a:off x="-724358" y="4163344"/>
            <a:ext cx="548604" cy="39354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 descr="A picture containing drawing&#10;&#10;Description automatically generated">
            <a:extLst>
              <a:ext uri="{FF2B5EF4-FFF2-40B4-BE49-F238E27FC236}">
                <a16:creationId xmlns:a16="http://schemas.microsoft.com/office/drawing/2014/main" id="{EE293E3F-8B81-6749-97C6-E01728E79A8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83218" y="5876511"/>
            <a:ext cx="720000" cy="720000"/>
          </a:xfrm>
          <a:prstGeom prst="rect">
            <a:avLst/>
          </a:prstGeom>
        </p:spPr>
      </p:pic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F9894997-0FD0-B442-B718-6C30AECDF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763" y="62313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BFA7740-E1E4-CF40-B1A8-6A4D041C669F}"/>
              </a:ext>
            </a:extLst>
          </p:cNvPr>
          <p:cNvSpPr/>
          <p:nvPr/>
        </p:nvSpPr>
        <p:spPr>
          <a:xfrm>
            <a:off x="-724358" y="5313902"/>
            <a:ext cx="548604" cy="3935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09F759-08A0-2F43-8CCC-BD227D990C6D}"/>
              </a:ext>
            </a:extLst>
          </p:cNvPr>
          <p:cNvSpPr/>
          <p:nvPr/>
        </p:nvSpPr>
        <p:spPr>
          <a:xfrm>
            <a:off x="-724358" y="5889181"/>
            <a:ext cx="548604" cy="39354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54B4476-3896-334F-9341-57603836FE1A}"/>
              </a:ext>
            </a:extLst>
          </p:cNvPr>
          <p:cNvSpPr/>
          <p:nvPr/>
        </p:nvSpPr>
        <p:spPr>
          <a:xfrm>
            <a:off x="-724358" y="6464460"/>
            <a:ext cx="548604" cy="39354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BAB4066E-0CB6-4B47-9C0A-33A6A503AC4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-724358" y="2281627"/>
            <a:ext cx="549420" cy="549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424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  <p:sldLayoutId id="2147483885" r:id="rId4"/>
    <p:sldLayoutId id="2147483886" r:id="rId5"/>
    <p:sldLayoutId id="2147483887" r:id="rId6"/>
    <p:sldLayoutId id="2147483888" r:id="rId7"/>
    <p:sldLayoutId id="2147483889" r:id="rId8"/>
    <p:sldLayoutId id="2147483890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189">
          <p15:clr>
            <a:srgbClr val="F26B43"/>
          </p15:clr>
        </p15:guide>
        <p15:guide id="3" pos="7491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orient="horz" pos="119">
          <p15:clr>
            <a:srgbClr val="F26B43"/>
          </p15:clr>
        </p15:guide>
        <p15:guide id="6" orient="horz" pos="958">
          <p15:clr>
            <a:srgbClr val="F26B43"/>
          </p15:clr>
        </p15:guide>
        <p15:guide id="7" pos="234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44ED048-2017-BC44-AB8A-6009FC67CE3F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6520058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44ED048-2017-BC44-AB8A-6009FC67C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416731BD-A7D6-C947-BEE6-054F4E7BEE14}"/>
              </a:ext>
            </a:extLst>
          </p:cNvPr>
          <p:cNvSpPr/>
          <p:nvPr/>
        </p:nvSpPr>
        <p:spPr>
          <a:xfrm>
            <a:off x="-724358" y="4738623"/>
            <a:ext cx="548604" cy="393540"/>
          </a:xfrm>
          <a:prstGeom prst="rect">
            <a:avLst/>
          </a:prstGeom>
          <a:solidFill>
            <a:srgbClr val="E3F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D3B2796-CEE5-0D4C-A84F-12008222E20C}"/>
              </a:ext>
            </a:extLst>
          </p:cNvPr>
          <p:cNvSpPr/>
          <p:nvPr/>
        </p:nvSpPr>
        <p:spPr>
          <a:xfrm>
            <a:off x="-724358" y="3012786"/>
            <a:ext cx="548604" cy="3935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CE6CED6-55FE-2048-A7A1-7BA59457E2A0}"/>
              </a:ext>
            </a:extLst>
          </p:cNvPr>
          <p:cNvSpPr/>
          <p:nvPr/>
        </p:nvSpPr>
        <p:spPr>
          <a:xfrm>
            <a:off x="-724358" y="3588065"/>
            <a:ext cx="548604" cy="393540"/>
          </a:xfrm>
          <a:prstGeom prst="rect">
            <a:avLst/>
          </a:prstGeom>
          <a:solidFill>
            <a:srgbClr val="B712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571D9F-2B81-EC44-8354-8967106597ED}"/>
              </a:ext>
            </a:extLst>
          </p:cNvPr>
          <p:cNvSpPr/>
          <p:nvPr/>
        </p:nvSpPr>
        <p:spPr>
          <a:xfrm>
            <a:off x="-724358" y="4163344"/>
            <a:ext cx="548604" cy="39354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 descr="A picture containing drawing&#10;&#10;Description automatically generated">
            <a:extLst>
              <a:ext uri="{FF2B5EF4-FFF2-40B4-BE49-F238E27FC236}">
                <a16:creationId xmlns:a16="http://schemas.microsoft.com/office/drawing/2014/main" id="{EE293E3F-8B81-6749-97C6-E01728E79A8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3218" y="5876511"/>
            <a:ext cx="720000" cy="720000"/>
          </a:xfrm>
          <a:prstGeom prst="rect">
            <a:avLst/>
          </a:prstGeom>
        </p:spPr>
      </p:pic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F9894997-0FD0-B442-B718-6C30AECDF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763" y="62313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BFA7740-E1E4-CF40-B1A8-6A4D041C669F}"/>
              </a:ext>
            </a:extLst>
          </p:cNvPr>
          <p:cNvSpPr/>
          <p:nvPr/>
        </p:nvSpPr>
        <p:spPr>
          <a:xfrm>
            <a:off x="-724358" y="5313902"/>
            <a:ext cx="548604" cy="3935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09F759-08A0-2F43-8CCC-BD227D990C6D}"/>
              </a:ext>
            </a:extLst>
          </p:cNvPr>
          <p:cNvSpPr/>
          <p:nvPr/>
        </p:nvSpPr>
        <p:spPr>
          <a:xfrm>
            <a:off x="-724358" y="5889181"/>
            <a:ext cx="548604" cy="39354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54B4476-3896-334F-9341-57603836FE1A}"/>
              </a:ext>
            </a:extLst>
          </p:cNvPr>
          <p:cNvSpPr/>
          <p:nvPr/>
        </p:nvSpPr>
        <p:spPr>
          <a:xfrm>
            <a:off x="-724358" y="6464460"/>
            <a:ext cx="548604" cy="39354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BAB4066E-0CB6-4B47-9C0A-33A6A503AC4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-724358" y="2281627"/>
            <a:ext cx="549420" cy="549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85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  <p:sldLayoutId id="2147483966" r:id="rId3"/>
    <p:sldLayoutId id="2147483967" r:id="rId4"/>
    <p:sldLayoutId id="2147483968" r:id="rId5"/>
    <p:sldLayoutId id="2147483969" r:id="rId6"/>
    <p:sldLayoutId id="2147483970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189">
          <p15:clr>
            <a:srgbClr val="F26B43"/>
          </p15:clr>
        </p15:guide>
        <p15:guide id="3" pos="7491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orient="horz" pos="119">
          <p15:clr>
            <a:srgbClr val="F26B43"/>
          </p15:clr>
        </p15:guide>
        <p15:guide id="6" orient="horz" pos="958">
          <p15:clr>
            <a:srgbClr val="F26B43"/>
          </p15:clr>
        </p15:guide>
        <p15:guide id="7" pos="234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F0AA9C4-5759-D680-CB6C-5FA8B5ED2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7AE2E6-C0AC-3E47-E7C5-F791FB9150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12E9F9-8A49-CB12-A296-A515BAFB8C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FA129D-284C-4760-A613-F424F889990C}" type="datetimeFigureOut">
              <a:rPr lang="en-GB" smtClean="0"/>
              <a:t>02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8EB3A-102F-5E62-B571-39BA16066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D61E3C-9DB6-B9BA-5CAF-F34159A583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9086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  <p:sldLayoutId id="2147483979" r:id="rId8"/>
    <p:sldLayoutId id="2147483980" r:id="rId9"/>
    <p:sldLayoutId id="2147483981" r:id="rId10"/>
    <p:sldLayoutId id="214748398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4ECC134-C9BA-0A44-B64C-035226A6F8B4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938507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4ECC134-C9BA-0A44-B64C-035226A6F8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 descr="Logo, company name&#10;&#10;Description automatically generated">
            <a:extLst>
              <a:ext uri="{FF2B5EF4-FFF2-40B4-BE49-F238E27FC236}">
                <a16:creationId xmlns:a16="http://schemas.microsoft.com/office/drawing/2014/main" id="{F56A6E3F-3268-BD45-AB17-28F37FF46C5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-724358" y="2856906"/>
            <a:ext cx="549850" cy="549420"/>
          </a:xfrm>
          <a:prstGeom prst="rect">
            <a:avLst/>
          </a:prstGeom>
        </p:spPr>
      </p:pic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F9894997-0FD0-B442-B718-6C30AECDF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763" y="62313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2EDE031-45B1-AF44-A0D5-83ADB0D90510}"/>
              </a:ext>
            </a:extLst>
          </p:cNvPr>
          <p:cNvSpPr/>
          <p:nvPr/>
        </p:nvSpPr>
        <p:spPr>
          <a:xfrm>
            <a:off x="-724358" y="3588065"/>
            <a:ext cx="548604" cy="3935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31837F-96B7-FA47-A1BB-FD26C8C916C1}"/>
              </a:ext>
            </a:extLst>
          </p:cNvPr>
          <p:cNvSpPr/>
          <p:nvPr/>
        </p:nvSpPr>
        <p:spPr>
          <a:xfrm>
            <a:off x="-724358" y="4163344"/>
            <a:ext cx="548604" cy="393540"/>
          </a:xfrm>
          <a:prstGeom prst="rect">
            <a:avLst/>
          </a:prstGeom>
          <a:solidFill>
            <a:srgbClr val="4F24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35BC7A8-0D77-F14C-A58C-1C13F7AE83F5}"/>
              </a:ext>
            </a:extLst>
          </p:cNvPr>
          <p:cNvSpPr/>
          <p:nvPr/>
        </p:nvSpPr>
        <p:spPr>
          <a:xfrm>
            <a:off x="-724358" y="4738623"/>
            <a:ext cx="548604" cy="393540"/>
          </a:xfrm>
          <a:prstGeom prst="rect">
            <a:avLst/>
          </a:prstGeom>
          <a:solidFill>
            <a:srgbClr val="001F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AF332E-A100-4B4B-9F2D-1E2C0A7501FD}"/>
              </a:ext>
            </a:extLst>
          </p:cNvPr>
          <p:cNvSpPr/>
          <p:nvPr/>
        </p:nvSpPr>
        <p:spPr>
          <a:xfrm>
            <a:off x="-724358" y="6464460"/>
            <a:ext cx="548604" cy="3935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0858108-66EC-DA44-BF35-D10C180E2B5F}"/>
              </a:ext>
            </a:extLst>
          </p:cNvPr>
          <p:cNvSpPr/>
          <p:nvPr/>
        </p:nvSpPr>
        <p:spPr>
          <a:xfrm>
            <a:off x="-724358" y="5889181"/>
            <a:ext cx="548604" cy="39354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68B63A9-D39B-0740-B8BB-D9E8982044D5}"/>
              </a:ext>
            </a:extLst>
          </p:cNvPr>
          <p:cNvSpPr/>
          <p:nvPr/>
        </p:nvSpPr>
        <p:spPr>
          <a:xfrm>
            <a:off x="-724358" y="5313902"/>
            <a:ext cx="548604" cy="39354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" name="Picture 33" descr="Logo, company name&#10;&#10;Description automatically generated">
            <a:extLst>
              <a:ext uri="{FF2B5EF4-FFF2-40B4-BE49-F238E27FC236}">
                <a16:creationId xmlns:a16="http://schemas.microsoft.com/office/drawing/2014/main" id="{8CE12BE1-C8D8-804B-A939-B4E181E6B36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211893" y="5879981"/>
            <a:ext cx="720564" cy="7200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extLst>
              <a:ext uri="{FF2B5EF4-FFF2-40B4-BE49-F238E27FC236}">
                <a16:creationId xmlns:a16="http://schemas.microsoft.com/office/drawing/2014/main" id="{323DEE1B-277C-4541-A7AE-E4AD4DEB723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83218" y="5876511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633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0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189">
          <p15:clr>
            <a:srgbClr val="F26B43"/>
          </p15:clr>
        </p15:guide>
        <p15:guide id="3" pos="7491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orient="horz" pos="119">
          <p15:clr>
            <a:srgbClr val="F26B43"/>
          </p15:clr>
        </p15:guide>
        <p15:guide id="6" orient="horz" pos="958">
          <p15:clr>
            <a:srgbClr val="F26B43"/>
          </p15:clr>
        </p15:guide>
        <p15:guide id="7" pos="2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2B47BF-1EC5-A747-8AD0-E5372A4A247F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0842800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A2B47BF-1EC5-A747-8AD0-E5372A4A24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icture containing text, outdoor&#10;&#10;Description automatically generated">
            <a:extLst>
              <a:ext uri="{FF2B5EF4-FFF2-40B4-BE49-F238E27FC236}">
                <a16:creationId xmlns:a16="http://schemas.microsoft.com/office/drawing/2014/main" id="{BACC3C34-103E-4094-BFBA-73343BE8ADC4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493" r="493"/>
          <a:stretch/>
        </p:blipFill>
        <p:spPr>
          <a:xfrm>
            <a:off x="1212457" y="5879981"/>
            <a:ext cx="720000" cy="720000"/>
          </a:xfrm>
          <a:prstGeom prst="rect">
            <a:avLst/>
          </a:prstGeom>
        </p:spPr>
      </p:pic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F9894997-0FD0-B442-B718-6C30AECDF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763" y="62313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20" descr="Logo, company name&#10;&#10;Description automatically generated">
            <a:extLst>
              <a:ext uri="{FF2B5EF4-FFF2-40B4-BE49-F238E27FC236}">
                <a16:creationId xmlns:a16="http://schemas.microsoft.com/office/drawing/2014/main" id="{C3315DD0-3FDD-AA40-BC23-B496822D462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-724358" y="2856906"/>
            <a:ext cx="549850" cy="549420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F34B3274-457A-DF45-B8FD-3FC007DB8353}"/>
              </a:ext>
            </a:extLst>
          </p:cNvPr>
          <p:cNvSpPr/>
          <p:nvPr/>
        </p:nvSpPr>
        <p:spPr>
          <a:xfrm>
            <a:off x="-724358" y="3588065"/>
            <a:ext cx="548604" cy="3935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8E8E821-2990-2D43-B25D-743A0BE7DD37}"/>
              </a:ext>
            </a:extLst>
          </p:cNvPr>
          <p:cNvSpPr/>
          <p:nvPr/>
        </p:nvSpPr>
        <p:spPr>
          <a:xfrm>
            <a:off x="-724358" y="4163344"/>
            <a:ext cx="548604" cy="393540"/>
          </a:xfrm>
          <a:prstGeom prst="rect">
            <a:avLst/>
          </a:prstGeom>
          <a:solidFill>
            <a:srgbClr val="001F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51131CE-4B6B-7645-AA1F-A6F397979BAF}"/>
              </a:ext>
            </a:extLst>
          </p:cNvPr>
          <p:cNvSpPr/>
          <p:nvPr/>
        </p:nvSpPr>
        <p:spPr>
          <a:xfrm>
            <a:off x="-724358" y="4738623"/>
            <a:ext cx="548604" cy="393540"/>
          </a:xfrm>
          <a:prstGeom prst="rect">
            <a:avLst/>
          </a:prstGeom>
          <a:solidFill>
            <a:srgbClr val="CBAA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12701C0-0D14-E94C-A0B9-3B5AEA487C2D}"/>
              </a:ext>
            </a:extLst>
          </p:cNvPr>
          <p:cNvSpPr/>
          <p:nvPr/>
        </p:nvSpPr>
        <p:spPr>
          <a:xfrm>
            <a:off x="-724358" y="6464460"/>
            <a:ext cx="548604" cy="39354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4C1C105-F71F-2045-9468-FA0C8638333B}"/>
              </a:ext>
            </a:extLst>
          </p:cNvPr>
          <p:cNvSpPr/>
          <p:nvPr/>
        </p:nvSpPr>
        <p:spPr>
          <a:xfrm>
            <a:off x="-724358" y="5889181"/>
            <a:ext cx="548604" cy="39354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25B8F83-76BF-2344-984B-7353613A10F7}"/>
              </a:ext>
            </a:extLst>
          </p:cNvPr>
          <p:cNvSpPr/>
          <p:nvPr/>
        </p:nvSpPr>
        <p:spPr>
          <a:xfrm>
            <a:off x="-724358" y="5313902"/>
            <a:ext cx="548604" cy="3935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Picture 27" descr="A picture containing text, outdoor&#10;&#10;Description automatically generated">
            <a:extLst>
              <a:ext uri="{FF2B5EF4-FFF2-40B4-BE49-F238E27FC236}">
                <a16:creationId xmlns:a16="http://schemas.microsoft.com/office/drawing/2014/main" id="{2097D02C-6F49-1E49-8C61-3430224E7C72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493" r="493"/>
          <a:stretch/>
        </p:blipFill>
        <p:spPr>
          <a:xfrm>
            <a:off x="-724358" y="2856906"/>
            <a:ext cx="547200" cy="547200"/>
          </a:xfrm>
          <a:prstGeom prst="rect">
            <a:avLst/>
          </a:prstGeom>
        </p:spPr>
      </p:pic>
      <p:pic>
        <p:nvPicPr>
          <p:cNvPr id="30" name="Picture 29" descr="A picture containing drawing&#10;&#10;Description automatically generated">
            <a:extLst>
              <a:ext uri="{FF2B5EF4-FFF2-40B4-BE49-F238E27FC236}">
                <a16:creationId xmlns:a16="http://schemas.microsoft.com/office/drawing/2014/main" id="{E6B03C6F-AA29-8846-921D-4E47D58DAAE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83218" y="5879981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05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03" r:id="rId2"/>
    <p:sldLayoutId id="2147483904" r:id="rId3"/>
    <p:sldLayoutId id="2147483905" r:id="rId4"/>
    <p:sldLayoutId id="2147483906" r:id="rId5"/>
    <p:sldLayoutId id="2147483907" r:id="rId6"/>
    <p:sldLayoutId id="2147483923" r:id="rId7"/>
    <p:sldLayoutId id="2147483924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189">
          <p15:clr>
            <a:srgbClr val="F26B43"/>
          </p15:clr>
        </p15:guide>
        <p15:guide id="3" pos="7491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orient="horz" pos="119">
          <p15:clr>
            <a:srgbClr val="F26B43"/>
          </p15:clr>
        </p15:guide>
        <p15:guide id="6" orient="horz" pos="958">
          <p15:clr>
            <a:srgbClr val="F26B43"/>
          </p15:clr>
        </p15:guide>
        <p15:guide id="7" pos="23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5EA03C9-78A0-D54E-B242-A13204EE6746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6348260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5EA03C9-78A0-D54E-B242-A13204EE67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D0600F3-7FC3-44A2-BE9A-7F9A9B82823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83218" y="5876511"/>
            <a:ext cx="1675688" cy="720000"/>
          </a:xfrm>
          <a:prstGeom prst="rect">
            <a:avLst/>
          </a:prstGeom>
        </p:spPr>
      </p:pic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F9894997-0FD0-B442-B718-6C30AECDF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763" y="62313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AEEF5C-7F0A-2049-B9FF-41110B248C35}"/>
              </a:ext>
            </a:extLst>
          </p:cNvPr>
          <p:cNvSpPr/>
          <p:nvPr/>
        </p:nvSpPr>
        <p:spPr>
          <a:xfrm>
            <a:off x="-1456408" y="4738623"/>
            <a:ext cx="1280654" cy="393540"/>
          </a:xfrm>
          <a:prstGeom prst="rect">
            <a:avLst/>
          </a:prstGeom>
          <a:solidFill>
            <a:srgbClr val="E3F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59BD64C-656A-884A-B61B-4231654D8BF5}"/>
              </a:ext>
            </a:extLst>
          </p:cNvPr>
          <p:cNvSpPr/>
          <p:nvPr/>
        </p:nvSpPr>
        <p:spPr>
          <a:xfrm>
            <a:off x="-1456408" y="3012786"/>
            <a:ext cx="1280654" cy="3935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3ABE238-C949-4D47-B049-5446CF4D8D6B}"/>
              </a:ext>
            </a:extLst>
          </p:cNvPr>
          <p:cNvSpPr/>
          <p:nvPr/>
        </p:nvSpPr>
        <p:spPr>
          <a:xfrm>
            <a:off x="-1456408" y="3588065"/>
            <a:ext cx="1280654" cy="393540"/>
          </a:xfrm>
          <a:prstGeom prst="rect">
            <a:avLst/>
          </a:prstGeom>
          <a:solidFill>
            <a:srgbClr val="B712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CE8F4E0-FE81-C14B-B4AD-3AEB6A7E0650}"/>
              </a:ext>
            </a:extLst>
          </p:cNvPr>
          <p:cNvSpPr/>
          <p:nvPr/>
        </p:nvSpPr>
        <p:spPr>
          <a:xfrm>
            <a:off x="-1456408" y="4163344"/>
            <a:ext cx="1280654" cy="39354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AF35DA2-0E13-C94F-BB05-B8242B34421B}"/>
              </a:ext>
            </a:extLst>
          </p:cNvPr>
          <p:cNvSpPr/>
          <p:nvPr/>
        </p:nvSpPr>
        <p:spPr>
          <a:xfrm>
            <a:off x="-1456408" y="5313902"/>
            <a:ext cx="1280654" cy="3935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49670DB-4995-814E-AAA5-15CD6E66CB93}"/>
              </a:ext>
            </a:extLst>
          </p:cNvPr>
          <p:cNvSpPr/>
          <p:nvPr/>
        </p:nvSpPr>
        <p:spPr>
          <a:xfrm>
            <a:off x="-1456408" y="5889181"/>
            <a:ext cx="1280654" cy="39354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4DDEAE3-3EA8-0943-826B-2FC8C0E5DD8B}"/>
              </a:ext>
            </a:extLst>
          </p:cNvPr>
          <p:cNvSpPr/>
          <p:nvPr/>
        </p:nvSpPr>
        <p:spPr>
          <a:xfrm>
            <a:off x="-1456408" y="6464460"/>
            <a:ext cx="1280654" cy="39354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E0E31F83-06E0-A44A-ACE8-60FB34E6465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-1456408" y="2281627"/>
            <a:ext cx="1280654" cy="550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865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25" r:id="rId7"/>
    <p:sldLayoutId id="2147483926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189">
          <p15:clr>
            <a:srgbClr val="F26B43"/>
          </p15:clr>
        </p15:guide>
        <p15:guide id="3" pos="7491">
          <p15:clr>
            <a:srgbClr val="F26B43"/>
          </p15:clr>
        </p15:guide>
        <p15:guide id="4" orient="horz" pos="686">
          <p15:clr>
            <a:srgbClr val="F26B43"/>
          </p15:clr>
        </p15:guide>
        <p15:guide id="5" orient="horz" pos="119">
          <p15:clr>
            <a:srgbClr val="F26B43"/>
          </p15:clr>
        </p15:guide>
        <p15:guide id="6" orient="horz" pos="958">
          <p15:clr>
            <a:srgbClr val="F26B43"/>
          </p15:clr>
        </p15:guide>
        <p15:guide id="7" pos="23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44ED048-2017-BC44-AB8A-6009FC67CE3F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520058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44ED048-2017-BC44-AB8A-6009FC67C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416731BD-A7D6-C947-BEE6-054F4E7BEE14}"/>
              </a:ext>
            </a:extLst>
          </p:cNvPr>
          <p:cNvSpPr/>
          <p:nvPr/>
        </p:nvSpPr>
        <p:spPr>
          <a:xfrm>
            <a:off x="-724358" y="4738623"/>
            <a:ext cx="548604" cy="393540"/>
          </a:xfrm>
          <a:prstGeom prst="rect">
            <a:avLst/>
          </a:prstGeom>
          <a:solidFill>
            <a:srgbClr val="E3F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D3B2796-CEE5-0D4C-A84F-12008222E20C}"/>
              </a:ext>
            </a:extLst>
          </p:cNvPr>
          <p:cNvSpPr/>
          <p:nvPr/>
        </p:nvSpPr>
        <p:spPr>
          <a:xfrm>
            <a:off x="-724358" y="3012786"/>
            <a:ext cx="548604" cy="3935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CE6CED6-55FE-2048-A7A1-7BA59457E2A0}"/>
              </a:ext>
            </a:extLst>
          </p:cNvPr>
          <p:cNvSpPr/>
          <p:nvPr/>
        </p:nvSpPr>
        <p:spPr>
          <a:xfrm>
            <a:off x="-724358" y="3588065"/>
            <a:ext cx="548604" cy="393540"/>
          </a:xfrm>
          <a:prstGeom prst="rect">
            <a:avLst/>
          </a:prstGeom>
          <a:solidFill>
            <a:srgbClr val="B712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571D9F-2B81-EC44-8354-8967106597ED}"/>
              </a:ext>
            </a:extLst>
          </p:cNvPr>
          <p:cNvSpPr/>
          <p:nvPr/>
        </p:nvSpPr>
        <p:spPr>
          <a:xfrm>
            <a:off x="-724358" y="4163344"/>
            <a:ext cx="548604" cy="39354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 descr="A picture containing drawing&#10;&#10;Description automatically generated">
            <a:extLst>
              <a:ext uri="{FF2B5EF4-FFF2-40B4-BE49-F238E27FC236}">
                <a16:creationId xmlns:a16="http://schemas.microsoft.com/office/drawing/2014/main" id="{EE293E3F-8B81-6749-97C6-E01728E79A8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83218" y="5876511"/>
            <a:ext cx="720000" cy="720000"/>
          </a:xfrm>
          <a:prstGeom prst="rect">
            <a:avLst/>
          </a:prstGeom>
        </p:spPr>
      </p:pic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F9894997-0FD0-B442-B718-6C30AECDF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763" y="62313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BFA7740-E1E4-CF40-B1A8-6A4D041C669F}"/>
              </a:ext>
            </a:extLst>
          </p:cNvPr>
          <p:cNvSpPr/>
          <p:nvPr/>
        </p:nvSpPr>
        <p:spPr>
          <a:xfrm>
            <a:off x="-724358" y="5313902"/>
            <a:ext cx="548604" cy="3935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09F759-08A0-2F43-8CCC-BD227D990C6D}"/>
              </a:ext>
            </a:extLst>
          </p:cNvPr>
          <p:cNvSpPr/>
          <p:nvPr/>
        </p:nvSpPr>
        <p:spPr>
          <a:xfrm>
            <a:off x="-724358" y="5889181"/>
            <a:ext cx="548604" cy="39354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54B4476-3896-334F-9341-57603836FE1A}"/>
              </a:ext>
            </a:extLst>
          </p:cNvPr>
          <p:cNvSpPr/>
          <p:nvPr/>
        </p:nvSpPr>
        <p:spPr>
          <a:xfrm>
            <a:off x="-724358" y="6464460"/>
            <a:ext cx="548604" cy="39354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BAB4066E-0CB6-4B47-9C0A-33A6A503AC4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-724358" y="2281627"/>
            <a:ext cx="549420" cy="549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840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917" r:id="rId2"/>
    <p:sldLayoutId id="2147483918" r:id="rId3"/>
    <p:sldLayoutId id="2147483919" r:id="rId4"/>
    <p:sldLayoutId id="2147483920" r:id="rId5"/>
    <p:sldLayoutId id="2147483921" r:id="rId6"/>
    <p:sldLayoutId id="2147483922" r:id="rId7"/>
    <p:sldLayoutId id="2147483927" r:id="rId8"/>
    <p:sldLayoutId id="2147483928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189">
          <p15:clr>
            <a:srgbClr val="F26B43"/>
          </p15:clr>
        </p15:guide>
        <p15:guide id="3" pos="7491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orient="horz" pos="119">
          <p15:clr>
            <a:srgbClr val="F26B43"/>
          </p15:clr>
        </p15:guide>
        <p15:guide id="6" orient="horz" pos="958">
          <p15:clr>
            <a:srgbClr val="F26B43"/>
          </p15:clr>
        </p15:guide>
        <p15:guide id="7" pos="23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031C5DA-0891-5741-8E35-20E850E58605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952222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031C5DA-0891-5741-8E35-20E850E586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416731BD-A7D6-C947-BEE6-054F4E7BEE14}"/>
              </a:ext>
            </a:extLst>
          </p:cNvPr>
          <p:cNvSpPr/>
          <p:nvPr/>
        </p:nvSpPr>
        <p:spPr>
          <a:xfrm>
            <a:off x="-724358" y="4738623"/>
            <a:ext cx="548604" cy="393540"/>
          </a:xfrm>
          <a:prstGeom prst="rect">
            <a:avLst/>
          </a:prstGeom>
          <a:solidFill>
            <a:srgbClr val="E3F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D3B2796-CEE5-0D4C-A84F-12008222E20C}"/>
              </a:ext>
            </a:extLst>
          </p:cNvPr>
          <p:cNvSpPr/>
          <p:nvPr/>
        </p:nvSpPr>
        <p:spPr>
          <a:xfrm>
            <a:off x="-724358" y="3012786"/>
            <a:ext cx="548604" cy="3935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CE6CED6-55FE-2048-A7A1-7BA59457E2A0}"/>
              </a:ext>
            </a:extLst>
          </p:cNvPr>
          <p:cNvSpPr/>
          <p:nvPr/>
        </p:nvSpPr>
        <p:spPr>
          <a:xfrm>
            <a:off x="-724358" y="3588065"/>
            <a:ext cx="548604" cy="393540"/>
          </a:xfrm>
          <a:prstGeom prst="rect">
            <a:avLst/>
          </a:prstGeom>
          <a:solidFill>
            <a:srgbClr val="B712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571D9F-2B81-EC44-8354-8967106597ED}"/>
              </a:ext>
            </a:extLst>
          </p:cNvPr>
          <p:cNvSpPr/>
          <p:nvPr/>
        </p:nvSpPr>
        <p:spPr>
          <a:xfrm>
            <a:off x="-724358" y="4163344"/>
            <a:ext cx="548604" cy="39354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 descr="A picture containing drawing&#10;&#10;Description automatically generated">
            <a:extLst>
              <a:ext uri="{FF2B5EF4-FFF2-40B4-BE49-F238E27FC236}">
                <a16:creationId xmlns:a16="http://schemas.microsoft.com/office/drawing/2014/main" id="{EE293E3F-8B81-6749-97C6-E01728E79A8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83218" y="5876511"/>
            <a:ext cx="720000" cy="720000"/>
          </a:xfrm>
          <a:prstGeom prst="rect">
            <a:avLst/>
          </a:prstGeom>
        </p:spPr>
      </p:pic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F9894997-0FD0-B442-B718-6C30AECDF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763" y="62313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7F11E9-EDF4-4DD4-A037-24791A4B7204}" type="slidenum">
              <a:rPr lang="en-GB" smtClean="0"/>
              <a:t>‹#›</a:t>
            </a:fld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BFA7740-E1E4-CF40-B1A8-6A4D041C669F}"/>
              </a:ext>
            </a:extLst>
          </p:cNvPr>
          <p:cNvSpPr/>
          <p:nvPr/>
        </p:nvSpPr>
        <p:spPr>
          <a:xfrm>
            <a:off x="-724358" y="5313902"/>
            <a:ext cx="548604" cy="3935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09F759-08A0-2F43-8CCC-BD227D990C6D}"/>
              </a:ext>
            </a:extLst>
          </p:cNvPr>
          <p:cNvSpPr/>
          <p:nvPr/>
        </p:nvSpPr>
        <p:spPr>
          <a:xfrm>
            <a:off x="-724358" y="5889181"/>
            <a:ext cx="548604" cy="39354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54B4476-3896-334F-9341-57603836FE1A}"/>
              </a:ext>
            </a:extLst>
          </p:cNvPr>
          <p:cNvSpPr/>
          <p:nvPr/>
        </p:nvSpPr>
        <p:spPr>
          <a:xfrm>
            <a:off x="-724358" y="6464460"/>
            <a:ext cx="548604" cy="39354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BAB4066E-0CB6-4B47-9C0A-33A6A503AC4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-724358" y="2281627"/>
            <a:ext cx="549420" cy="549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045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0" r:id="rId1"/>
    <p:sldLayoutId id="2147483931" r:id="rId2"/>
    <p:sldLayoutId id="2147483932" r:id="rId3"/>
    <p:sldLayoutId id="2147483933" r:id="rId4"/>
    <p:sldLayoutId id="2147483934" r:id="rId5"/>
    <p:sldLayoutId id="2147483935" r:id="rId6"/>
    <p:sldLayoutId id="2147483936" r:id="rId7"/>
    <p:sldLayoutId id="2147483937" r:id="rId8"/>
    <p:sldLayoutId id="2147483938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189">
          <p15:clr>
            <a:srgbClr val="F26B43"/>
          </p15:clr>
        </p15:guide>
        <p15:guide id="3" pos="7491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orient="horz" pos="119">
          <p15:clr>
            <a:srgbClr val="F26B43"/>
          </p15:clr>
        </p15:guide>
        <p15:guide id="6" orient="horz" pos="958">
          <p15:clr>
            <a:srgbClr val="F26B43"/>
          </p15:clr>
        </p15:guide>
        <p15:guide id="7" pos="23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4ECC134-C9BA-0A44-B64C-035226A6F8B4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938507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4ECC134-C9BA-0A44-B64C-035226A6F8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 descr="Logo, company name&#10;&#10;Description automatically generated">
            <a:extLst>
              <a:ext uri="{FF2B5EF4-FFF2-40B4-BE49-F238E27FC236}">
                <a16:creationId xmlns:a16="http://schemas.microsoft.com/office/drawing/2014/main" id="{F56A6E3F-3268-BD45-AB17-28F37FF46C5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-724358" y="2856906"/>
            <a:ext cx="549850" cy="549420"/>
          </a:xfrm>
          <a:prstGeom prst="rect">
            <a:avLst/>
          </a:prstGeom>
        </p:spPr>
      </p:pic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F9894997-0FD0-B442-B718-6C30AECDF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763" y="62313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2EDE031-45B1-AF44-A0D5-83ADB0D90510}"/>
              </a:ext>
            </a:extLst>
          </p:cNvPr>
          <p:cNvSpPr/>
          <p:nvPr/>
        </p:nvSpPr>
        <p:spPr>
          <a:xfrm>
            <a:off x="-724358" y="3588065"/>
            <a:ext cx="548604" cy="3935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31837F-96B7-FA47-A1BB-FD26C8C916C1}"/>
              </a:ext>
            </a:extLst>
          </p:cNvPr>
          <p:cNvSpPr/>
          <p:nvPr/>
        </p:nvSpPr>
        <p:spPr>
          <a:xfrm>
            <a:off x="-724358" y="4163344"/>
            <a:ext cx="548604" cy="393540"/>
          </a:xfrm>
          <a:prstGeom prst="rect">
            <a:avLst/>
          </a:prstGeom>
          <a:solidFill>
            <a:srgbClr val="4F24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35BC7A8-0D77-F14C-A58C-1C13F7AE83F5}"/>
              </a:ext>
            </a:extLst>
          </p:cNvPr>
          <p:cNvSpPr/>
          <p:nvPr/>
        </p:nvSpPr>
        <p:spPr>
          <a:xfrm>
            <a:off x="-724358" y="4738623"/>
            <a:ext cx="548604" cy="393540"/>
          </a:xfrm>
          <a:prstGeom prst="rect">
            <a:avLst/>
          </a:prstGeom>
          <a:solidFill>
            <a:srgbClr val="001F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AF332E-A100-4B4B-9F2D-1E2C0A7501FD}"/>
              </a:ext>
            </a:extLst>
          </p:cNvPr>
          <p:cNvSpPr/>
          <p:nvPr/>
        </p:nvSpPr>
        <p:spPr>
          <a:xfrm>
            <a:off x="-724358" y="6464460"/>
            <a:ext cx="548604" cy="3935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0858108-66EC-DA44-BF35-D10C180E2B5F}"/>
              </a:ext>
            </a:extLst>
          </p:cNvPr>
          <p:cNvSpPr/>
          <p:nvPr/>
        </p:nvSpPr>
        <p:spPr>
          <a:xfrm>
            <a:off x="-724358" y="5889181"/>
            <a:ext cx="548604" cy="39354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68B63A9-D39B-0740-B8BB-D9E8982044D5}"/>
              </a:ext>
            </a:extLst>
          </p:cNvPr>
          <p:cNvSpPr/>
          <p:nvPr/>
        </p:nvSpPr>
        <p:spPr>
          <a:xfrm>
            <a:off x="-724358" y="5313902"/>
            <a:ext cx="548604" cy="39354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" name="Picture 33" descr="Logo, company name&#10;&#10;Description automatically generated">
            <a:extLst>
              <a:ext uri="{FF2B5EF4-FFF2-40B4-BE49-F238E27FC236}">
                <a16:creationId xmlns:a16="http://schemas.microsoft.com/office/drawing/2014/main" id="{8CE12BE1-C8D8-804B-A939-B4E181E6B36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211893" y="5879981"/>
            <a:ext cx="720564" cy="7200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extLst>
              <a:ext uri="{FF2B5EF4-FFF2-40B4-BE49-F238E27FC236}">
                <a16:creationId xmlns:a16="http://schemas.microsoft.com/office/drawing/2014/main" id="{323DEE1B-277C-4541-A7AE-E4AD4DEB723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83218" y="5876511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959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  <p:sldLayoutId id="2147483948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189">
          <p15:clr>
            <a:srgbClr val="F26B43"/>
          </p15:clr>
        </p15:guide>
        <p15:guide id="3" pos="7491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orient="horz" pos="119">
          <p15:clr>
            <a:srgbClr val="F26B43"/>
          </p15:clr>
        </p15:guide>
        <p15:guide id="6" orient="horz" pos="958">
          <p15:clr>
            <a:srgbClr val="F26B43"/>
          </p15:clr>
        </p15:guide>
        <p15:guide id="7" pos="234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2B47BF-1EC5-A747-8AD0-E5372A4A247F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842800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A2B47BF-1EC5-A747-8AD0-E5372A4A24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icture containing text, outdoor&#10;&#10;Description automatically generated">
            <a:extLst>
              <a:ext uri="{FF2B5EF4-FFF2-40B4-BE49-F238E27FC236}">
                <a16:creationId xmlns:a16="http://schemas.microsoft.com/office/drawing/2014/main" id="{BACC3C34-103E-4094-BFBA-73343BE8ADC4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493" r="493"/>
          <a:stretch/>
        </p:blipFill>
        <p:spPr>
          <a:xfrm>
            <a:off x="1212457" y="5879981"/>
            <a:ext cx="720000" cy="720000"/>
          </a:xfrm>
          <a:prstGeom prst="rect">
            <a:avLst/>
          </a:prstGeom>
        </p:spPr>
      </p:pic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F9894997-0FD0-B442-B718-6C30AECDF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763" y="62313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20" descr="Logo, company name&#10;&#10;Description automatically generated">
            <a:extLst>
              <a:ext uri="{FF2B5EF4-FFF2-40B4-BE49-F238E27FC236}">
                <a16:creationId xmlns:a16="http://schemas.microsoft.com/office/drawing/2014/main" id="{C3315DD0-3FDD-AA40-BC23-B496822D462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-724358" y="2856906"/>
            <a:ext cx="549850" cy="549420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F34B3274-457A-DF45-B8FD-3FC007DB8353}"/>
              </a:ext>
            </a:extLst>
          </p:cNvPr>
          <p:cNvSpPr/>
          <p:nvPr/>
        </p:nvSpPr>
        <p:spPr>
          <a:xfrm>
            <a:off x="-724358" y="3588065"/>
            <a:ext cx="548604" cy="3935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8E8E821-2990-2D43-B25D-743A0BE7DD37}"/>
              </a:ext>
            </a:extLst>
          </p:cNvPr>
          <p:cNvSpPr/>
          <p:nvPr/>
        </p:nvSpPr>
        <p:spPr>
          <a:xfrm>
            <a:off x="-724358" y="4163344"/>
            <a:ext cx="548604" cy="393540"/>
          </a:xfrm>
          <a:prstGeom prst="rect">
            <a:avLst/>
          </a:prstGeom>
          <a:solidFill>
            <a:srgbClr val="001F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51131CE-4B6B-7645-AA1F-A6F397979BAF}"/>
              </a:ext>
            </a:extLst>
          </p:cNvPr>
          <p:cNvSpPr/>
          <p:nvPr/>
        </p:nvSpPr>
        <p:spPr>
          <a:xfrm>
            <a:off x="-724358" y="4738623"/>
            <a:ext cx="548604" cy="393540"/>
          </a:xfrm>
          <a:prstGeom prst="rect">
            <a:avLst/>
          </a:prstGeom>
          <a:solidFill>
            <a:srgbClr val="CBAA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12701C0-0D14-E94C-A0B9-3B5AEA487C2D}"/>
              </a:ext>
            </a:extLst>
          </p:cNvPr>
          <p:cNvSpPr/>
          <p:nvPr/>
        </p:nvSpPr>
        <p:spPr>
          <a:xfrm>
            <a:off x="-724358" y="6464460"/>
            <a:ext cx="548604" cy="39354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4C1C105-F71F-2045-9468-FA0C8638333B}"/>
              </a:ext>
            </a:extLst>
          </p:cNvPr>
          <p:cNvSpPr/>
          <p:nvPr/>
        </p:nvSpPr>
        <p:spPr>
          <a:xfrm>
            <a:off x="-724358" y="5889181"/>
            <a:ext cx="548604" cy="39354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25B8F83-76BF-2344-984B-7353613A10F7}"/>
              </a:ext>
            </a:extLst>
          </p:cNvPr>
          <p:cNvSpPr/>
          <p:nvPr/>
        </p:nvSpPr>
        <p:spPr>
          <a:xfrm>
            <a:off x="-724358" y="5313902"/>
            <a:ext cx="548604" cy="3935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Picture 27" descr="A picture containing text, outdoor&#10;&#10;Description automatically generated">
            <a:extLst>
              <a:ext uri="{FF2B5EF4-FFF2-40B4-BE49-F238E27FC236}">
                <a16:creationId xmlns:a16="http://schemas.microsoft.com/office/drawing/2014/main" id="{2097D02C-6F49-1E49-8C61-3430224E7C72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493" r="493"/>
          <a:stretch/>
        </p:blipFill>
        <p:spPr>
          <a:xfrm>
            <a:off x="-724358" y="2856906"/>
            <a:ext cx="547200" cy="547200"/>
          </a:xfrm>
          <a:prstGeom prst="rect">
            <a:avLst/>
          </a:prstGeom>
        </p:spPr>
      </p:pic>
      <p:pic>
        <p:nvPicPr>
          <p:cNvPr id="30" name="Picture 29" descr="A picture containing drawing&#10;&#10;Description automatically generated">
            <a:extLst>
              <a:ext uri="{FF2B5EF4-FFF2-40B4-BE49-F238E27FC236}">
                <a16:creationId xmlns:a16="http://schemas.microsoft.com/office/drawing/2014/main" id="{E6B03C6F-AA29-8846-921D-4E47D58DAAE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83218" y="5879981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228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1" r:id="rId2"/>
    <p:sldLayoutId id="2147483952" r:id="rId3"/>
    <p:sldLayoutId id="2147483953" r:id="rId4"/>
    <p:sldLayoutId id="2147483954" r:id="rId5"/>
    <p:sldLayoutId id="2147483955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189">
          <p15:clr>
            <a:srgbClr val="F26B43"/>
          </p15:clr>
        </p15:guide>
        <p15:guide id="3" pos="7491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orient="horz" pos="119">
          <p15:clr>
            <a:srgbClr val="F26B43"/>
          </p15:clr>
        </p15:guide>
        <p15:guide id="6" orient="horz" pos="958">
          <p15:clr>
            <a:srgbClr val="F26B43"/>
          </p15:clr>
        </p15:guide>
        <p15:guide id="7" pos="234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5EA03C9-78A0-D54E-B242-A13204EE6746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348260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5EA03C9-78A0-D54E-B242-A13204EE67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D0600F3-7FC3-44A2-BE9A-7F9A9B82823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3218" y="5876511"/>
            <a:ext cx="1675688" cy="720000"/>
          </a:xfrm>
          <a:prstGeom prst="rect">
            <a:avLst/>
          </a:prstGeom>
        </p:spPr>
      </p:pic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F9894997-0FD0-B442-B718-6C30AECDF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763" y="62313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4EF1CF7-37CD-3D45-980F-DDE017AE810C}" type="slidenum">
              <a:rPr lang="en-US" smtClean="0"/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AEEF5C-7F0A-2049-B9FF-41110B248C35}"/>
              </a:ext>
            </a:extLst>
          </p:cNvPr>
          <p:cNvSpPr/>
          <p:nvPr/>
        </p:nvSpPr>
        <p:spPr>
          <a:xfrm>
            <a:off x="-1456408" y="4738623"/>
            <a:ext cx="1280654" cy="393540"/>
          </a:xfrm>
          <a:prstGeom prst="rect">
            <a:avLst/>
          </a:prstGeom>
          <a:solidFill>
            <a:srgbClr val="E3F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59BD64C-656A-884A-B61B-4231654D8BF5}"/>
              </a:ext>
            </a:extLst>
          </p:cNvPr>
          <p:cNvSpPr/>
          <p:nvPr/>
        </p:nvSpPr>
        <p:spPr>
          <a:xfrm>
            <a:off x="-1456408" y="3012786"/>
            <a:ext cx="1280654" cy="3935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3ABE238-C949-4D47-B049-5446CF4D8D6B}"/>
              </a:ext>
            </a:extLst>
          </p:cNvPr>
          <p:cNvSpPr/>
          <p:nvPr/>
        </p:nvSpPr>
        <p:spPr>
          <a:xfrm>
            <a:off x="-1456408" y="3588065"/>
            <a:ext cx="1280654" cy="393540"/>
          </a:xfrm>
          <a:prstGeom prst="rect">
            <a:avLst/>
          </a:prstGeom>
          <a:solidFill>
            <a:srgbClr val="B712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CE8F4E0-FE81-C14B-B4AD-3AEB6A7E0650}"/>
              </a:ext>
            </a:extLst>
          </p:cNvPr>
          <p:cNvSpPr/>
          <p:nvPr/>
        </p:nvSpPr>
        <p:spPr>
          <a:xfrm>
            <a:off x="-1456408" y="4163344"/>
            <a:ext cx="1280654" cy="39354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AF35DA2-0E13-C94F-BB05-B8242B34421B}"/>
              </a:ext>
            </a:extLst>
          </p:cNvPr>
          <p:cNvSpPr/>
          <p:nvPr/>
        </p:nvSpPr>
        <p:spPr>
          <a:xfrm>
            <a:off x="-1456408" y="5313902"/>
            <a:ext cx="1280654" cy="3935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49670DB-4995-814E-AAA5-15CD6E66CB93}"/>
              </a:ext>
            </a:extLst>
          </p:cNvPr>
          <p:cNvSpPr/>
          <p:nvPr/>
        </p:nvSpPr>
        <p:spPr>
          <a:xfrm>
            <a:off x="-1456408" y="5889181"/>
            <a:ext cx="1280654" cy="39354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4DDEAE3-3EA8-0943-826B-2FC8C0E5DD8B}"/>
              </a:ext>
            </a:extLst>
          </p:cNvPr>
          <p:cNvSpPr/>
          <p:nvPr/>
        </p:nvSpPr>
        <p:spPr>
          <a:xfrm>
            <a:off x="-1456408" y="6464460"/>
            <a:ext cx="1280654" cy="39354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E0E31F83-06E0-A44A-ACE8-60FB34E6465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-1456408" y="2281627"/>
            <a:ext cx="1280654" cy="550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932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958" r:id="rId2"/>
    <p:sldLayoutId id="2147483959" r:id="rId3"/>
    <p:sldLayoutId id="2147483960" r:id="rId4"/>
    <p:sldLayoutId id="2147483961" r:id="rId5"/>
    <p:sldLayoutId id="2147483962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189">
          <p15:clr>
            <a:srgbClr val="F26B43"/>
          </p15:clr>
        </p15:guide>
        <p15:guide id="3" pos="7491">
          <p15:clr>
            <a:srgbClr val="F26B43"/>
          </p15:clr>
        </p15:guide>
        <p15:guide id="4" orient="horz" pos="686">
          <p15:clr>
            <a:srgbClr val="F26B43"/>
          </p15:clr>
        </p15:guide>
        <p15:guide id="5" orient="horz" pos="119">
          <p15:clr>
            <a:srgbClr val="F26B43"/>
          </p15:clr>
        </p15:guide>
        <p15:guide id="6" orient="horz" pos="958">
          <p15:clr>
            <a:srgbClr val="F26B43"/>
          </p15:clr>
        </p15:guide>
        <p15:guide id="7" pos="23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ustomXml" Target="../ink/ink3.xml"/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2.xml"/><Relationship Id="rId6" Type="http://schemas.openxmlformats.org/officeDocument/2006/relationships/customXml" Target="../ink/ink2.xml"/><Relationship Id="rId5" Type="http://schemas.openxmlformats.org/officeDocument/2006/relationships/image" Target="../media/image15.png"/><Relationship Id="rId4" Type="http://schemas.openxmlformats.org/officeDocument/2006/relationships/customXml" Target="../ink/ink1.xml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44ECCE-E27E-DB36-B871-F21D3EF1D9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29703" y="0"/>
            <a:ext cx="11822350" cy="1264596"/>
          </a:xfrm>
        </p:spPr>
        <p:txBody>
          <a:bodyPr>
            <a:normAutofit/>
          </a:bodyPr>
          <a:lstStyle/>
          <a:p>
            <a:r>
              <a:rPr lang="en-GB" sz="40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alysis of Via Facilis student dat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8396B2-7906-FBF1-F0E8-44F188B7AA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5288" y="1882588"/>
            <a:ext cx="11400817" cy="4654972"/>
          </a:xfrm>
        </p:spPr>
        <p:txBody>
          <a:bodyPr>
            <a:normAutofit fontScale="92500" lnSpcReduction="10000"/>
          </a:bodyPr>
          <a:lstStyle/>
          <a:p>
            <a:pPr algn="l"/>
            <a:r>
              <a:rPr lang="en-GB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Key Takeaway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udents improved at Latin throughout the program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Improvement at Latin is positively correlated with academic attainment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Latin language ability has a strong positive correlation with metalinguistic ability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r>
              <a:rPr lang="en-GB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re to consider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mple size was large enough to draw statistically significant conclusions, </a:t>
            </a:r>
            <a:b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but more data would add reliability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Avoided comparing across years, focused on 22/23 data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trol group data would help to draw stronger conclusions</a:t>
            </a:r>
          </a:p>
          <a:p>
            <a:pPr algn="l"/>
            <a:br>
              <a:rPr lang="en-GB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87839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0BA22B-4DB1-2276-8136-D78EEA9CDA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terpreting resul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592895-EE0E-F72C-5252-C9B04A38D6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50894"/>
            <a:ext cx="10515600" cy="4941981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GB" b="0" i="0" dirty="0">
                <a:solidFill>
                  <a:srgbClr val="11111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R</a:t>
            </a:r>
            <a:r>
              <a:rPr lang="en-GB" b="0" i="0" baseline="30000" dirty="0">
                <a:solidFill>
                  <a:srgbClr val="11111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en-GB" b="0" i="0" dirty="0">
              <a:solidFill>
                <a:srgbClr val="11111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GB" b="0" i="0" dirty="0">
                <a:solidFill>
                  <a:srgbClr val="11111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he R</a:t>
            </a:r>
            <a:r>
              <a:rPr lang="en-GB" b="0" i="0" baseline="30000" dirty="0">
                <a:solidFill>
                  <a:srgbClr val="11111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2 </a:t>
            </a:r>
            <a:r>
              <a:rPr lang="en-GB" b="0" i="0" dirty="0">
                <a:solidFill>
                  <a:srgbClr val="11111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value is a statistical measure that represents the proportion of the variance in the dependent variable that can be explained by the independent variable.</a:t>
            </a:r>
          </a:p>
          <a:p>
            <a:r>
              <a:rPr lang="en-GB" dirty="0">
                <a:solidFill>
                  <a:srgbClr val="11111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social sciences, an </a:t>
            </a:r>
            <a:r>
              <a:rPr lang="en-GB" b="0" i="0" dirty="0">
                <a:solidFill>
                  <a:srgbClr val="11111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R</a:t>
            </a:r>
            <a:r>
              <a:rPr lang="en-GB" b="0" i="0" baseline="30000" dirty="0">
                <a:solidFill>
                  <a:srgbClr val="11111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2 </a:t>
            </a:r>
            <a:r>
              <a:rPr lang="en-GB" b="0" i="0" dirty="0">
                <a:solidFill>
                  <a:srgbClr val="11111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value greater than 0.5 is considered “strong” because there are a wide range of factors influencing any given variable. </a:t>
            </a:r>
          </a:p>
          <a:p>
            <a:endParaRPr lang="en-GB" b="0" i="0" dirty="0">
              <a:solidFill>
                <a:srgbClr val="11111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GB" dirty="0">
                <a:solidFill>
                  <a:srgbClr val="11111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</a:p>
          <a:p>
            <a:r>
              <a:rPr lang="en-GB" dirty="0">
                <a:solidFill>
                  <a:srgbClr val="11111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P value is the probability of obtaining the given result if there was no relationship between the two variables.</a:t>
            </a:r>
          </a:p>
          <a:p>
            <a:r>
              <a:rPr lang="en-GB" dirty="0">
                <a:solidFill>
                  <a:srgbClr val="11111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 P value of less than 0.05 is a strong reason to believe there is a relationship between the two variables.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43808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F0BF3A0A-581C-950A-0187-6E74AD7032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583" y="840403"/>
            <a:ext cx="6349206" cy="477460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5DEE531-34A0-604F-2BCE-EEFD4440F3F7}"/>
              </a:ext>
            </a:extLst>
          </p:cNvPr>
          <p:cNvSpPr txBox="1"/>
          <p:nvPr/>
        </p:nvSpPr>
        <p:spPr>
          <a:xfrm>
            <a:off x="245097" y="213973"/>
            <a:ext cx="40346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Latin Improve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FA2BCCE-6BC1-D71D-0E16-7D23DB1CB7FB}"/>
              </a:ext>
            </a:extLst>
          </p:cNvPr>
          <p:cNvSpPr txBox="1"/>
          <p:nvPr/>
        </p:nvSpPr>
        <p:spPr>
          <a:xfrm>
            <a:off x="7062281" y="1188557"/>
            <a:ext cx="504865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cohort average improved on the second t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program improves the Latin ability of the students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A3FA06B-F410-F367-EDCD-B09925A17BBC}"/>
              </a:ext>
            </a:extLst>
          </p:cNvPr>
          <p:cNvCxnSpPr>
            <a:cxnSpLocks/>
          </p:cNvCxnSpPr>
          <p:nvPr/>
        </p:nvCxnSpPr>
        <p:spPr>
          <a:xfrm flipH="1" flipV="1">
            <a:off x="753035" y="3263153"/>
            <a:ext cx="1102660" cy="25166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F618ECF4-8034-622F-6236-945B3AD42051}"/>
              </a:ext>
            </a:extLst>
          </p:cNvPr>
          <p:cNvSpPr txBox="1"/>
          <p:nvPr/>
        </p:nvSpPr>
        <p:spPr>
          <a:xfrm>
            <a:off x="1855695" y="5779771"/>
            <a:ext cx="3917576" cy="64633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Percentage of students who achieved the score </a:t>
            </a:r>
          </a:p>
        </p:txBody>
      </p:sp>
    </p:spTree>
    <p:extLst>
      <p:ext uri="{BB962C8B-B14F-4D97-AF65-F5344CB8AC3E}">
        <p14:creationId xmlns:p14="http://schemas.microsoft.com/office/powerpoint/2010/main" val="38692420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94BC2E68-97BB-FBDE-A94F-EFE9CCDFDCE0}"/>
              </a:ext>
            </a:extLst>
          </p:cNvPr>
          <p:cNvSpPr txBox="1"/>
          <p:nvPr/>
        </p:nvSpPr>
        <p:spPr>
          <a:xfrm>
            <a:off x="245097" y="213973"/>
            <a:ext cx="55335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Latin’s relationship with Attainmen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672185A-3B78-CADD-C3D0-095CCE5A8D36}"/>
              </a:ext>
            </a:extLst>
          </p:cNvPr>
          <p:cNvSpPr txBox="1"/>
          <p:nvPr/>
        </p:nvSpPr>
        <p:spPr>
          <a:xfrm>
            <a:off x="8232006" y="1119129"/>
            <a:ext cx="3959994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udents who made greater improvements at Latin were more likely to receive a higher attainment grade for that ye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is could mean that studying Latin has a positive impact on general academic attai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owever, we cannot rule out other possibilities such as students who studied more improved at Latin and in general</a:t>
            </a:r>
          </a:p>
        </p:txBody>
      </p:sp>
      <p:pic>
        <p:nvPicPr>
          <p:cNvPr id="18" name="Picture 17" descr="A diagram of a box plot&#10;&#10;Description automatically generated">
            <a:extLst>
              <a:ext uri="{FF2B5EF4-FFF2-40B4-BE49-F238E27FC236}">
                <a16:creationId xmlns:a16="http://schemas.microsoft.com/office/drawing/2014/main" id="{A03A5380-6D00-033A-5598-E547EA0689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266" y="758644"/>
            <a:ext cx="8113740" cy="5832769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BB9A1E5-3A45-59DE-4CAF-D120826C3704}"/>
              </a:ext>
            </a:extLst>
          </p:cNvPr>
          <p:cNvCxnSpPr>
            <a:cxnSpLocks/>
          </p:cNvCxnSpPr>
          <p:nvPr/>
        </p:nvCxnSpPr>
        <p:spPr>
          <a:xfrm>
            <a:off x="1945341" y="1211536"/>
            <a:ext cx="98612" cy="1331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3F852C4E-46A1-A82E-EC9F-D7D6BAC6C33E}"/>
              </a:ext>
            </a:extLst>
          </p:cNvPr>
          <p:cNvSpPr txBox="1"/>
          <p:nvPr/>
        </p:nvSpPr>
        <p:spPr>
          <a:xfrm>
            <a:off x="322729" y="698375"/>
            <a:ext cx="24563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2% of the variation in attainment grades can be explained by improvement at Latin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DA6022D-1119-7EA2-AFB6-568875DCD115}"/>
              </a:ext>
            </a:extLst>
          </p:cNvPr>
          <p:cNvCxnSpPr>
            <a:cxnSpLocks/>
          </p:cNvCxnSpPr>
          <p:nvPr/>
        </p:nvCxnSpPr>
        <p:spPr>
          <a:xfrm flipV="1">
            <a:off x="6300800" y="2718112"/>
            <a:ext cx="438918" cy="7354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789B3C4-F9A3-AEA6-5D07-89DEE739C457}"/>
              </a:ext>
            </a:extLst>
          </p:cNvPr>
          <p:cNvSpPr txBox="1"/>
          <p:nvPr/>
        </p:nvSpPr>
        <p:spPr>
          <a:xfrm>
            <a:off x="5116079" y="3376583"/>
            <a:ext cx="14253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ighest, median and lowest scores for students who achieved this grade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8849259D-D3C3-9D8D-7D00-5EBDADB0F80E}"/>
              </a:ext>
            </a:extLst>
          </p:cNvPr>
          <p:cNvCxnSpPr>
            <a:cxnSpLocks/>
          </p:cNvCxnSpPr>
          <p:nvPr/>
        </p:nvCxnSpPr>
        <p:spPr>
          <a:xfrm flipV="1">
            <a:off x="5977037" y="1762563"/>
            <a:ext cx="838200" cy="16664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DBC001A9-47C2-8C71-A164-013151B41B8B}"/>
              </a:ext>
            </a:extLst>
          </p:cNvPr>
          <p:cNvCxnSpPr>
            <a:cxnSpLocks/>
          </p:cNvCxnSpPr>
          <p:nvPr/>
        </p:nvCxnSpPr>
        <p:spPr>
          <a:xfrm>
            <a:off x="6322195" y="3792081"/>
            <a:ext cx="493042" cy="3270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532AB1CB-B1BC-C835-03E1-83B28A419759}"/>
              </a:ext>
            </a:extLst>
          </p:cNvPr>
          <p:cNvSpPr txBox="1"/>
          <p:nvPr/>
        </p:nvSpPr>
        <p:spPr>
          <a:xfrm>
            <a:off x="2204116" y="2525067"/>
            <a:ext cx="140745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alf of the students who achieved this grade had scores in this rang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73C3827-DD75-C2BB-1261-5ABA13D610C9}"/>
              </a:ext>
            </a:extLst>
          </p:cNvPr>
          <p:cNvSpPr txBox="1"/>
          <p:nvPr/>
        </p:nvSpPr>
        <p:spPr>
          <a:xfrm>
            <a:off x="3425542" y="2267524"/>
            <a:ext cx="372064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800" dirty="0">
                <a:latin typeface="Avenir Next LT Pro Light" panose="020B0304020202020204" pitchFamily="34" charset="0"/>
              </a:rPr>
              <a:t>{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231A83D-C3F7-75D0-8E90-A08AD0AC6A4D}"/>
              </a:ext>
            </a:extLst>
          </p:cNvPr>
          <p:cNvSpPr txBox="1"/>
          <p:nvPr/>
        </p:nvSpPr>
        <p:spPr>
          <a:xfrm>
            <a:off x="611841" y="4558404"/>
            <a:ext cx="118252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mprovement in score from Autumn 22 test to Summer 23 test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B630F927-68EA-B01C-9011-38BCA9C82931}"/>
              </a:ext>
            </a:extLst>
          </p:cNvPr>
          <p:cNvCxnSpPr>
            <a:cxnSpLocks/>
          </p:cNvCxnSpPr>
          <p:nvPr/>
        </p:nvCxnSpPr>
        <p:spPr>
          <a:xfrm flipH="1" flipV="1">
            <a:off x="322729" y="3541059"/>
            <a:ext cx="636495" cy="10173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5449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1FBC1C-FD35-DE3F-48A8-B48E839B76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46259" y="1057835"/>
            <a:ext cx="4984376" cy="5326304"/>
          </a:xfrm>
        </p:spPr>
        <p:txBody>
          <a:bodyPr>
            <a:normAutofit/>
          </a:bodyPr>
          <a:lstStyle/>
          <a:p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thout data from students with no experience studying Latin, we are not able to definitively assess Latin’s impact on attainment</a:t>
            </a:r>
          </a:p>
          <a:p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owever, this graph shows that students who had been studying Latin for longer typically received higher attainment grades.</a:t>
            </a:r>
          </a:p>
          <a:p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gain, this could mean that studying Latin has a positive impact on general academic attainment, but other factors could be at play </a:t>
            </a:r>
            <a:b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.g., students who started in 22/23 had recently transferred to a new school and thus struggled mo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7C61BF4-4E23-C645-97CA-41451694A8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029" y="816666"/>
            <a:ext cx="6871344" cy="482999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3632226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2621DF19-F8BC-A00D-2742-B37945DE81A1}"/>
              </a:ext>
            </a:extLst>
          </p:cNvPr>
          <p:cNvSpPr txBox="1"/>
          <p:nvPr/>
        </p:nvSpPr>
        <p:spPr>
          <a:xfrm>
            <a:off x="245097" y="213973"/>
            <a:ext cx="40346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talinguistic Abil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E245068-3488-54DC-CA3F-472626CFB4CE}"/>
              </a:ext>
            </a:extLst>
          </p:cNvPr>
          <p:cNvSpPr txBox="1"/>
          <p:nvPr/>
        </p:nvSpPr>
        <p:spPr>
          <a:xfrm>
            <a:off x="330740" y="675639"/>
            <a:ext cx="1087514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udents who performed well in Latin were more likely to perform well in the Metalinguistic test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Performance on solely the language section of the test had a stronger correlation with metalinguistic test performance. </a:t>
            </a:r>
          </a:p>
        </p:txBody>
      </p:sp>
      <p:pic>
        <p:nvPicPr>
          <p:cNvPr id="14" name="Content Placeholder 13" descr="A graph with a line and a line&#10;&#10;Description automatically generated">
            <a:extLst>
              <a:ext uri="{FF2B5EF4-FFF2-40B4-BE49-F238E27FC236}">
                <a16:creationId xmlns:a16="http://schemas.microsoft.com/office/drawing/2014/main" id="{436A99A8-ED5A-6C2B-CAE2-5ABBE6691B1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363" y="1625983"/>
            <a:ext cx="5488242" cy="3977193"/>
          </a:xfrm>
          <a:ln>
            <a:solidFill>
              <a:schemeClr val="tx1"/>
            </a:solidFill>
          </a:ln>
        </p:spPr>
      </p:pic>
      <p:pic>
        <p:nvPicPr>
          <p:cNvPr id="18" name="Picture 17" descr="A graph with a line and a black line&#10;&#10;Description automatically generated">
            <a:extLst>
              <a:ext uri="{FF2B5EF4-FFF2-40B4-BE49-F238E27FC236}">
                <a16:creationId xmlns:a16="http://schemas.microsoft.com/office/drawing/2014/main" id="{1FEF7ADF-4195-F462-7427-46123013E6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840" y="1625983"/>
            <a:ext cx="5488242" cy="397719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EFB83E5C-FB27-BE05-DDD0-48262683E596}"/>
              </a:ext>
            </a:extLst>
          </p:cNvPr>
          <p:cNvSpPr txBox="1"/>
          <p:nvPr/>
        </p:nvSpPr>
        <p:spPr>
          <a:xfrm>
            <a:off x="487079" y="5788757"/>
            <a:ext cx="104925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is could mean that studying Latin, particularly language, improves metalinguistic ability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However, we cannot rule out other possibilities such as the students pre-existing linguistic ability determining their score on both tests.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23" name="Ink 22">
                <a:extLst>
                  <a:ext uri="{FF2B5EF4-FFF2-40B4-BE49-F238E27FC236}">
                    <a16:creationId xmlns:a16="http://schemas.microsoft.com/office/drawing/2014/main" id="{07EC7668-844E-5FD0-840C-E58C70485E16}"/>
                  </a:ext>
                </a:extLst>
              </p14:cNvPr>
              <p14:cNvContentPartPr/>
              <p14:nvPr/>
            </p14:nvContentPartPr>
            <p14:xfrm>
              <a:off x="3253821" y="1272480"/>
              <a:ext cx="734760" cy="9360"/>
            </p14:xfrm>
          </p:contentPart>
        </mc:Choice>
        <mc:Fallback>
          <p:pic>
            <p:nvPicPr>
              <p:cNvPr id="23" name="Ink 22">
                <a:extLst>
                  <a:ext uri="{FF2B5EF4-FFF2-40B4-BE49-F238E27FC236}">
                    <a16:creationId xmlns:a16="http://schemas.microsoft.com/office/drawing/2014/main" id="{07EC7668-844E-5FD0-840C-E58C70485E16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244821" y="1263480"/>
                <a:ext cx="752400" cy="27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24" name="Ink 23">
                <a:extLst>
                  <a:ext uri="{FF2B5EF4-FFF2-40B4-BE49-F238E27FC236}">
                    <a16:creationId xmlns:a16="http://schemas.microsoft.com/office/drawing/2014/main" id="{DB77377D-A996-9F9E-75E4-23333E7165CA}"/>
                  </a:ext>
                </a:extLst>
              </p14:cNvPr>
              <p14:cNvContentPartPr/>
              <p14:nvPr/>
            </p14:nvContentPartPr>
            <p14:xfrm>
              <a:off x="7781181" y="1909320"/>
              <a:ext cx="740520" cy="360"/>
            </p14:xfrm>
          </p:contentPart>
        </mc:Choice>
        <mc:Fallback>
          <p:pic>
            <p:nvPicPr>
              <p:cNvPr id="24" name="Ink 23">
                <a:extLst>
                  <a:ext uri="{FF2B5EF4-FFF2-40B4-BE49-F238E27FC236}">
                    <a16:creationId xmlns:a16="http://schemas.microsoft.com/office/drawing/2014/main" id="{DB77377D-A996-9F9E-75E4-23333E7165CA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772181" y="1900320"/>
                <a:ext cx="75816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74B47081-F358-A0C8-DB2C-14F4C02E4779}"/>
                  </a:ext>
                </a:extLst>
              </p14:cNvPr>
              <p14:cNvContentPartPr/>
              <p14:nvPr/>
            </p14:nvContentPartPr>
            <p14:xfrm>
              <a:off x="9627621" y="5521560"/>
              <a:ext cx="652320" cy="29160"/>
            </p14:xfrm>
          </p:contentPart>
        </mc:Choice>
        <mc:Fallback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74B47081-F358-A0C8-DB2C-14F4C02E4779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9618981" y="5512560"/>
                <a:ext cx="669960" cy="468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3097118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ACBFAD-F798-C6A8-0C3C-298567C3A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118" y="374090"/>
            <a:ext cx="11353800" cy="1325563"/>
          </a:xfrm>
        </p:spPr>
        <p:txBody>
          <a:bodyPr>
            <a:normAutofit/>
          </a:bodyPr>
          <a:lstStyle/>
          <a:p>
            <a:r>
              <a:rPr lang="en-GB" sz="40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How could we draw more definite conclusion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6A8AFF-7C9D-B9F0-5E4A-38F1C8270E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directly show how the students have benefitted, we would need similar data for a control group who had not taken part in the program. </a:t>
            </a:r>
          </a:p>
          <a:p>
            <a:pPr marL="0" indent="0">
              <a:buNone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Such as:</a:t>
            </a:r>
          </a:p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udents who did not participate in the program</a:t>
            </a:r>
          </a:p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Historical performance of the school</a:t>
            </a:r>
          </a:p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sults from similar schools</a:t>
            </a:r>
          </a:p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Future performance of students (non-participants and former participants) </a:t>
            </a:r>
          </a:p>
          <a:p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68220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SC">
  <a:themeElements>
    <a:clrScheme name="Custom 1">
      <a:dk1>
        <a:srgbClr val="000000"/>
      </a:dk1>
      <a:lt1>
        <a:srgbClr val="FFFFFF"/>
      </a:lt1>
      <a:dk2>
        <a:srgbClr val="B6123E"/>
      </a:dk2>
      <a:lt2>
        <a:srgbClr val="E7E6E6"/>
      </a:lt2>
      <a:accent1>
        <a:srgbClr val="B6123E"/>
      </a:accent1>
      <a:accent2>
        <a:srgbClr val="D0CDCD"/>
      </a:accent2>
      <a:accent3>
        <a:srgbClr val="E2EFD9"/>
      </a:accent3>
      <a:accent4>
        <a:srgbClr val="F1F2F1"/>
      </a:accent4>
      <a:accent5>
        <a:srgbClr val="BEBFBE"/>
      </a:accent5>
      <a:accent6>
        <a:srgbClr val="7E7F7E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SC" id="{8BB0DDC7-DF49-4595-BCF0-95AF47EFF994}" vid="{18D4C860-57B2-4383-AFEA-6500656FA306}"/>
    </a:ext>
  </a:extLst>
</a:theme>
</file>

<file path=ppt/theme/theme10.xml><?xml version="1.0" encoding="utf-8"?>
<a:theme xmlns:a="http://schemas.openxmlformats.org/drawingml/2006/main" name="2_LSC Strategy">
  <a:themeElements>
    <a:clrScheme name="Custom 1">
      <a:dk1>
        <a:srgbClr val="000000"/>
      </a:dk1>
      <a:lt1>
        <a:srgbClr val="FFFFFF"/>
      </a:lt1>
      <a:dk2>
        <a:srgbClr val="B6123E"/>
      </a:dk2>
      <a:lt2>
        <a:srgbClr val="E7E6E6"/>
      </a:lt2>
      <a:accent1>
        <a:srgbClr val="B6123E"/>
      </a:accent1>
      <a:accent2>
        <a:srgbClr val="D0CDCD"/>
      </a:accent2>
      <a:accent3>
        <a:srgbClr val="E2EFD9"/>
      </a:accent3>
      <a:accent4>
        <a:srgbClr val="F1F2F1"/>
      </a:accent4>
      <a:accent5>
        <a:srgbClr val="BEBFBE"/>
      </a:accent5>
      <a:accent6>
        <a:srgbClr val="7E7F7E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SC Template" id="{7E4795CA-E634-7247-8655-D1D7FA3B22A7}" vid="{72F9B90A-1785-1F41-9EE3-3DEAC6C385CC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SC Digital">
  <a:themeElements>
    <a:clrScheme name="LSC Digital_new">
      <a:dk1>
        <a:srgbClr val="2B292B"/>
      </a:dk1>
      <a:lt1>
        <a:srgbClr val="FFFFFF"/>
      </a:lt1>
      <a:dk2>
        <a:srgbClr val="000000"/>
      </a:dk2>
      <a:lt2>
        <a:srgbClr val="D0CECE"/>
      </a:lt2>
      <a:accent1>
        <a:srgbClr val="000000"/>
      </a:accent1>
      <a:accent2>
        <a:srgbClr val="4B2120"/>
      </a:accent2>
      <a:accent3>
        <a:srgbClr val="001D42"/>
      </a:accent3>
      <a:accent4>
        <a:srgbClr val="7E7F7E"/>
      </a:accent4>
      <a:accent5>
        <a:srgbClr val="BEBFBE"/>
      </a:accent5>
      <a:accent6>
        <a:srgbClr val="F1F2F1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SC Template" id="{7E4795CA-E634-7247-8655-D1D7FA3B22A7}" vid="{051D7840-DD79-FF43-8A91-B9C981E179D1}"/>
    </a:ext>
  </a:extLst>
</a:theme>
</file>

<file path=ppt/theme/theme3.xml><?xml version="1.0" encoding="utf-8"?>
<a:theme xmlns:a="http://schemas.openxmlformats.org/drawingml/2006/main" name="LSC Sustain">
  <a:themeElements>
    <a:clrScheme name="LSC Sustain_new">
      <a:dk1>
        <a:srgbClr val="000000"/>
      </a:dk1>
      <a:lt1>
        <a:srgbClr val="FFFFFF"/>
      </a:lt1>
      <a:dk2>
        <a:srgbClr val="002047"/>
      </a:dk2>
      <a:lt2>
        <a:srgbClr val="E7E6E6"/>
      </a:lt2>
      <a:accent1>
        <a:srgbClr val="000000"/>
      </a:accent1>
      <a:accent2>
        <a:srgbClr val="001F45"/>
      </a:accent2>
      <a:accent3>
        <a:srgbClr val="AB8F57"/>
      </a:accent3>
      <a:accent4>
        <a:srgbClr val="EFF0EF"/>
      </a:accent4>
      <a:accent5>
        <a:srgbClr val="BEBFBE"/>
      </a:accent5>
      <a:accent6>
        <a:srgbClr val="7E7F7E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SC Template" id="{7E4795CA-E634-7247-8655-D1D7FA3B22A7}" vid="{9434B21B-72D0-174F-A2A8-C446C0863CA0}"/>
    </a:ext>
  </a:extLst>
</a:theme>
</file>

<file path=ppt/theme/theme4.xml><?xml version="1.0" encoding="utf-8"?>
<a:theme xmlns:a="http://schemas.openxmlformats.org/drawingml/2006/main" name="LSC BKG">
  <a:themeElements>
    <a:clrScheme name="LSC BKG">
      <a:dk1>
        <a:srgbClr val="000000"/>
      </a:dk1>
      <a:lt1>
        <a:srgbClr val="FFFFFF"/>
      </a:lt1>
      <a:dk2>
        <a:srgbClr val="B7153D"/>
      </a:dk2>
      <a:lt2>
        <a:srgbClr val="D0CECE"/>
      </a:lt2>
      <a:accent1>
        <a:srgbClr val="B6123E"/>
      </a:accent1>
      <a:accent2>
        <a:srgbClr val="BBB8B8"/>
      </a:accent2>
      <a:accent3>
        <a:srgbClr val="E2EFD9"/>
      </a:accent3>
      <a:accent4>
        <a:srgbClr val="F1F2F1"/>
      </a:accent4>
      <a:accent5>
        <a:srgbClr val="BEBFBE"/>
      </a:accent5>
      <a:accent6>
        <a:srgbClr val="7E7F7E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SC Template" id="{7E4795CA-E634-7247-8655-D1D7FA3B22A7}" vid="{16045583-EA2B-6144-886C-D4F6936BD2A9}"/>
    </a:ext>
  </a:extLst>
</a:theme>
</file>

<file path=ppt/theme/theme5.xml><?xml version="1.0" encoding="utf-8"?>
<a:theme xmlns:a="http://schemas.openxmlformats.org/drawingml/2006/main" name="1_LSC Strategy">
  <a:themeElements>
    <a:clrScheme name="Custom 1">
      <a:dk1>
        <a:srgbClr val="000000"/>
      </a:dk1>
      <a:lt1>
        <a:srgbClr val="FFFFFF"/>
      </a:lt1>
      <a:dk2>
        <a:srgbClr val="B6123E"/>
      </a:dk2>
      <a:lt2>
        <a:srgbClr val="E7E6E6"/>
      </a:lt2>
      <a:accent1>
        <a:srgbClr val="B6123E"/>
      </a:accent1>
      <a:accent2>
        <a:srgbClr val="D0CDCD"/>
      </a:accent2>
      <a:accent3>
        <a:srgbClr val="E2EFD9"/>
      </a:accent3>
      <a:accent4>
        <a:srgbClr val="F1F2F1"/>
      </a:accent4>
      <a:accent5>
        <a:srgbClr val="BEBFBE"/>
      </a:accent5>
      <a:accent6>
        <a:srgbClr val="7E7F7E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SC Template" id="{7E4795CA-E634-7247-8655-D1D7FA3B22A7}" vid="{72F9B90A-1785-1F41-9EE3-3DEAC6C385CC}"/>
    </a:ext>
  </a:extLst>
</a:theme>
</file>

<file path=ppt/theme/theme6.xml><?xml version="1.0" encoding="utf-8"?>
<a:theme xmlns:a="http://schemas.openxmlformats.org/drawingml/2006/main" name="1_LSC">
  <a:themeElements>
    <a:clrScheme name="Custom 1">
      <a:dk1>
        <a:srgbClr val="000000"/>
      </a:dk1>
      <a:lt1>
        <a:srgbClr val="FFFFFF"/>
      </a:lt1>
      <a:dk2>
        <a:srgbClr val="B6123E"/>
      </a:dk2>
      <a:lt2>
        <a:srgbClr val="E7E6E6"/>
      </a:lt2>
      <a:accent1>
        <a:srgbClr val="B6123E"/>
      </a:accent1>
      <a:accent2>
        <a:srgbClr val="D0CDCD"/>
      </a:accent2>
      <a:accent3>
        <a:srgbClr val="E2EFD9"/>
      </a:accent3>
      <a:accent4>
        <a:srgbClr val="F1F2F1"/>
      </a:accent4>
      <a:accent5>
        <a:srgbClr val="BEBFBE"/>
      </a:accent5>
      <a:accent6>
        <a:srgbClr val="7E7F7E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SC" id="{8BB0DDC7-DF49-4595-BCF0-95AF47EFF994}" vid="{18D4C860-57B2-4383-AFEA-6500656FA306}"/>
    </a:ext>
  </a:extLst>
</a:theme>
</file>

<file path=ppt/theme/theme7.xml><?xml version="1.0" encoding="utf-8"?>
<a:theme xmlns:a="http://schemas.openxmlformats.org/drawingml/2006/main" name="1_LSC Digital">
  <a:themeElements>
    <a:clrScheme name="LSC Digital_new">
      <a:dk1>
        <a:srgbClr val="2B292B"/>
      </a:dk1>
      <a:lt1>
        <a:srgbClr val="FFFFFF"/>
      </a:lt1>
      <a:dk2>
        <a:srgbClr val="000000"/>
      </a:dk2>
      <a:lt2>
        <a:srgbClr val="D0CECE"/>
      </a:lt2>
      <a:accent1>
        <a:srgbClr val="000000"/>
      </a:accent1>
      <a:accent2>
        <a:srgbClr val="4B2120"/>
      </a:accent2>
      <a:accent3>
        <a:srgbClr val="001D42"/>
      </a:accent3>
      <a:accent4>
        <a:srgbClr val="7E7F7E"/>
      </a:accent4>
      <a:accent5>
        <a:srgbClr val="BEBFBE"/>
      </a:accent5>
      <a:accent6>
        <a:srgbClr val="F1F2F1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SC Template" id="{7E4795CA-E634-7247-8655-D1D7FA3B22A7}" vid="{051D7840-DD79-FF43-8A91-B9C981E179D1}"/>
    </a:ext>
  </a:extLst>
</a:theme>
</file>

<file path=ppt/theme/theme8.xml><?xml version="1.0" encoding="utf-8"?>
<a:theme xmlns:a="http://schemas.openxmlformats.org/drawingml/2006/main" name="1_LSC Sustain">
  <a:themeElements>
    <a:clrScheme name="LSC Sustain_new">
      <a:dk1>
        <a:srgbClr val="000000"/>
      </a:dk1>
      <a:lt1>
        <a:srgbClr val="FFFFFF"/>
      </a:lt1>
      <a:dk2>
        <a:srgbClr val="002047"/>
      </a:dk2>
      <a:lt2>
        <a:srgbClr val="E7E6E6"/>
      </a:lt2>
      <a:accent1>
        <a:srgbClr val="000000"/>
      </a:accent1>
      <a:accent2>
        <a:srgbClr val="001F45"/>
      </a:accent2>
      <a:accent3>
        <a:srgbClr val="AB8F57"/>
      </a:accent3>
      <a:accent4>
        <a:srgbClr val="EFF0EF"/>
      </a:accent4>
      <a:accent5>
        <a:srgbClr val="BEBFBE"/>
      </a:accent5>
      <a:accent6>
        <a:srgbClr val="7E7F7E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SC Template" id="{7E4795CA-E634-7247-8655-D1D7FA3B22A7}" vid="{9434B21B-72D0-174F-A2A8-C446C0863CA0}"/>
    </a:ext>
  </a:extLst>
</a:theme>
</file>

<file path=ppt/theme/theme9.xml><?xml version="1.0" encoding="utf-8"?>
<a:theme xmlns:a="http://schemas.openxmlformats.org/drawingml/2006/main" name="1_LSC BKG">
  <a:themeElements>
    <a:clrScheme name="LSC BKG">
      <a:dk1>
        <a:srgbClr val="000000"/>
      </a:dk1>
      <a:lt1>
        <a:srgbClr val="FFFFFF"/>
      </a:lt1>
      <a:dk2>
        <a:srgbClr val="B7153D"/>
      </a:dk2>
      <a:lt2>
        <a:srgbClr val="D0CECE"/>
      </a:lt2>
      <a:accent1>
        <a:srgbClr val="B6123E"/>
      </a:accent1>
      <a:accent2>
        <a:srgbClr val="BBB8B8"/>
      </a:accent2>
      <a:accent3>
        <a:srgbClr val="E2EFD9"/>
      </a:accent3>
      <a:accent4>
        <a:srgbClr val="F1F2F1"/>
      </a:accent4>
      <a:accent5>
        <a:srgbClr val="BEBFBE"/>
      </a:accent5>
      <a:accent6>
        <a:srgbClr val="7E7F7E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SC Template" id="{7E4795CA-E634-7247-8655-D1D7FA3B22A7}" vid="{16045583-EA2B-6144-886C-D4F6936BD2A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SC</Template>
  <TotalTime>13611</TotalTime>
  <Words>536</Words>
  <Application>Microsoft Office PowerPoint</Application>
  <PresentationFormat>Widescreen</PresentationFormat>
  <Paragraphs>50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4" baseType="lpstr">
      <vt:lpstr>Arial</vt:lpstr>
      <vt:lpstr>Avenir Next LT Pro Light</vt:lpstr>
      <vt:lpstr>Calibri</vt:lpstr>
      <vt:lpstr>Calibri Light</vt:lpstr>
      <vt:lpstr>Times New Roman</vt:lpstr>
      <vt:lpstr>LSC</vt:lpstr>
      <vt:lpstr>LSC Digital</vt:lpstr>
      <vt:lpstr>LSC Sustain</vt:lpstr>
      <vt:lpstr>LSC BKG</vt:lpstr>
      <vt:lpstr>1_LSC Strategy</vt:lpstr>
      <vt:lpstr>1_LSC</vt:lpstr>
      <vt:lpstr>1_LSC Digital</vt:lpstr>
      <vt:lpstr>1_LSC Sustain</vt:lpstr>
      <vt:lpstr>1_LSC BKG</vt:lpstr>
      <vt:lpstr>2_LSC Strategy</vt:lpstr>
      <vt:lpstr>Office Theme</vt:lpstr>
      <vt:lpstr>think-cell Slide</vt:lpstr>
      <vt:lpstr>Analysis of Via Facilis student data</vt:lpstr>
      <vt:lpstr>Interpreting results</vt:lpstr>
      <vt:lpstr>PowerPoint Presentation</vt:lpstr>
      <vt:lpstr>PowerPoint Presentation</vt:lpstr>
      <vt:lpstr>PowerPoint Presentation</vt:lpstr>
      <vt:lpstr>PowerPoint Presentation</vt:lpstr>
      <vt:lpstr>How could we draw more definite conclus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lube, Christian</dc:creator>
  <cp:lastModifiedBy>Ilube, Christian</cp:lastModifiedBy>
  <cp:revision>6</cp:revision>
  <dcterms:created xsi:type="dcterms:W3CDTF">2023-12-20T18:43:02Z</dcterms:created>
  <dcterms:modified xsi:type="dcterms:W3CDTF">2024-01-10T23:03:21Z</dcterms:modified>
</cp:coreProperties>
</file>